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2" r:id="rId3"/>
    <p:sldId id="272" r:id="rId4"/>
    <p:sldId id="276" r:id="rId5"/>
    <p:sldId id="271" r:id="rId6"/>
    <p:sldId id="273" r:id="rId7"/>
    <p:sldId id="27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DD81"/>
    <a:srgbClr val="F3F3F3"/>
    <a:srgbClr val="B5B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2AB69B-F97C-4C94-9ABF-F6157FA215A1}" v="1001" dt="2025-10-01T17:08:17.3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LDSWORTH, Izabela (NHS ENGLAND)" userId="c22b7b74-04e3-4b4c-a77a-6bbce117539e" providerId="ADAL" clId="{0A2AB69B-F97C-4C94-9ABF-F6157FA215A1}"/>
    <pc:docChg chg="undo custSel addSld delSld modSld sldOrd">
      <pc:chgData name="HOLDSWORTH, Izabela (NHS ENGLAND)" userId="c22b7b74-04e3-4b4c-a77a-6bbce117539e" providerId="ADAL" clId="{0A2AB69B-F97C-4C94-9ABF-F6157FA215A1}" dt="2025-10-01T17:08:34.400" v="3863" actId="2085"/>
      <pc:docMkLst>
        <pc:docMk/>
      </pc:docMkLst>
      <pc:sldChg chg="addSp modSp mod">
        <pc:chgData name="HOLDSWORTH, Izabela (NHS ENGLAND)" userId="c22b7b74-04e3-4b4c-a77a-6bbce117539e" providerId="ADAL" clId="{0A2AB69B-F97C-4C94-9ABF-F6157FA215A1}" dt="2025-10-01T16:41:10.992" v="3715" actId="1076"/>
        <pc:sldMkLst>
          <pc:docMk/>
          <pc:sldMk cId="289828204" sldId="256"/>
        </pc:sldMkLst>
        <pc:spChg chg="add mod">
          <ac:chgData name="HOLDSWORTH, Izabela (NHS ENGLAND)" userId="c22b7b74-04e3-4b4c-a77a-6bbce117539e" providerId="ADAL" clId="{0A2AB69B-F97C-4C94-9ABF-F6157FA215A1}" dt="2025-10-01T16:18:59.675" v="3665" actId="13926"/>
          <ac:spMkLst>
            <pc:docMk/>
            <pc:sldMk cId="289828204" sldId="256"/>
            <ac:spMk id="2" creationId="{F54E82EC-35A5-D11F-5733-83CDA1811783}"/>
          </ac:spMkLst>
        </pc:spChg>
        <pc:spChg chg="mod">
          <ac:chgData name="HOLDSWORTH, Izabela (NHS ENGLAND)" userId="c22b7b74-04e3-4b4c-a77a-6bbce117539e" providerId="ADAL" clId="{0A2AB69B-F97C-4C94-9ABF-F6157FA215A1}" dt="2025-10-01T11:23:51.349" v="348" actId="2711"/>
          <ac:spMkLst>
            <pc:docMk/>
            <pc:sldMk cId="289828204" sldId="256"/>
            <ac:spMk id="3" creationId="{E61AFA1C-EE1E-8DCD-3292-CAE630D2CD25}"/>
          </ac:spMkLst>
        </pc:spChg>
        <pc:spChg chg="add mod">
          <ac:chgData name="HOLDSWORTH, Izabela (NHS ENGLAND)" userId="c22b7b74-04e3-4b4c-a77a-6bbce117539e" providerId="ADAL" clId="{0A2AB69B-F97C-4C94-9ABF-F6157FA215A1}" dt="2025-10-01T16:41:10.992" v="3715" actId="1076"/>
          <ac:spMkLst>
            <pc:docMk/>
            <pc:sldMk cId="289828204" sldId="256"/>
            <ac:spMk id="4" creationId="{428FC550-8AD2-078E-9A38-5415602FC302}"/>
          </ac:spMkLst>
        </pc:spChg>
        <pc:spChg chg="mod">
          <ac:chgData name="HOLDSWORTH, Izabela (NHS ENGLAND)" userId="c22b7b74-04e3-4b4c-a77a-6bbce117539e" providerId="ADAL" clId="{0A2AB69B-F97C-4C94-9ABF-F6157FA215A1}" dt="2025-10-01T11:23:46.122" v="347" actId="27636"/>
          <ac:spMkLst>
            <pc:docMk/>
            <pc:sldMk cId="289828204" sldId="256"/>
            <ac:spMk id="6" creationId="{33C64671-7F86-F3EF-4B42-A57B758D1402}"/>
          </ac:spMkLst>
        </pc:spChg>
      </pc:sldChg>
      <pc:sldChg chg="addSp modSp del mod">
        <pc:chgData name="HOLDSWORTH, Izabela (NHS ENGLAND)" userId="c22b7b74-04e3-4b4c-a77a-6bbce117539e" providerId="ADAL" clId="{0A2AB69B-F97C-4C94-9ABF-F6157FA215A1}" dt="2025-10-01T12:25:56.394" v="1382" actId="47"/>
        <pc:sldMkLst>
          <pc:docMk/>
          <pc:sldMk cId="3623588531" sldId="261"/>
        </pc:sldMkLst>
        <pc:spChg chg="mod">
          <ac:chgData name="HOLDSWORTH, Izabela (NHS ENGLAND)" userId="c22b7b74-04e3-4b4c-a77a-6bbce117539e" providerId="ADAL" clId="{0A2AB69B-F97C-4C94-9ABF-F6157FA215A1}" dt="2025-10-01T11:23:30.291" v="345" actId="113"/>
          <ac:spMkLst>
            <pc:docMk/>
            <pc:sldMk cId="3623588531" sldId="261"/>
            <ac:spMk id="2" creationId="{0EF906A3-D2DF-B07D-2931-9AEB82DC06F5}"/>
          </ac:spMkLst>
        </pc:spChg>
        <pc:spChg chg="mod">
          <ac:chgData name="HOLDSWORTH, Izabela (NHS ENGLAND)" userId="c22b7b74-04e3-4b4c-a77a-6bbce117539e" providerId="ADAL" clId="{0A2AB69B-F97C-4C94-9ABF-F6157FA215A1}" dt="2025-10-01T11:27:43.574" v="843" actId="14100"/>
          <ac:spMkLst>
            <pc:docMk/>
            <pc:sldMk cId="3623588531" sldId="261"/>
            <ac:spMk id="4" creationId="{2627FFAE-6EDD-4F44-BCC8-A7AA56B02F32}"/>
          </ac:spMkLst>
        </pc:spChg>
        <pc:picChg chg="add mod">
          <ac:chgData name="HOLDSWORTH, Izabela (NHS ENGLAND)" userId="c22b7b74-04e3-4b4c-a77a-6bbce117539e" providerId="ADAL" clId="{0A2AB69B-F97C-4C94-9ABF-F6157FA215A1}" dt="2025-10-01T11:21:44.353" v="330" actId="1076"/>
          <ac:picMkLst>
            <pc:docMk/>
            <pc:sldMk cId="3623588531" sldId="261"/>
            <ac:picMk id="3" creationId="{01E93C48-5187-C294-F16A-78FEB468A993}"/>
          </ac:picMkLst>
        </pc:picChg>
        <pc:picChg chg="mod">
          <ac:chgData name="HOLDSWORTH, Izabela (NHS ENGLAND)" userId="c22b7b74-04e3-4b4c-a77a-6bbce117539e" providerId="ADAL" clId="{0A2AB69B-F97C-4C94-9ABF-F6157FA215A1}" dt="2025-10-01T11:27:32.539" v="841" actId="1076"/>
          <ac:picMkLst>
            <pc:docMk/>
            <pc:sldMk cId="3623588531" sldId="261"/>
            <ac:picMk id="1027" creationId="{EA289886-F95E-F661-353A-44074954985C}"/>
          </ac:picMkLst>
        </pc:picChg>
      </pc:sldChg>
      <pc:sldChg chg="addSp delSp modSp mod setBg">
        <pc:chgData name="HOLDSWORTH, Izabela (NHS ENGLAND)" userId="c22b7b74-04e3-4b4c-a77a-6bbce117539e" providerId="ADAL" clId="{0A2AB69B-F97C-4C94-9ABF-F6157FA215A1}" dt="2025-10-01T17:07:31.062" v="3859" actId="207"/>
        <pc:sldMkLst>
          <pc:docMk/>
          <pc:sldMk cId="1644197056" sldId="262"/>
        </pc:sldMkLst>
        <pc:spChg chg="mod">
          <ac:chgData name="HOLDSWORTH, Izabela (NHS ENGLAND)" userId="c22b7b74-04e3-4b4c-a77a-6bbce117539e" providerId="ADAL" clId="{0A2AB69B-F97C-4C94-9ABF-F6157FA215A1}" dt="2025-10-01T13:10:14.119" v="1694" actId="1076"/>
          <ac:spMkLst>
            <pc:docMk/>
            <pc:sldMk cId="1644197056" sldId="262"/>
            <ac:spMk id="2" creationId="{FC2DAD88-B5E8-3BCC-2D97-410FCBDB098D}"/>
          </ac:spMkLst>
        </pc:spChg>
        <pc:spChg chg="add del mod or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3" creationId="{6630FB0F-CFD6-5C6E-87BD-6D9086F72A5E}"/>
          </ac:spMkLst>
        </pc:spChg>
        <pc:spChg chg="add mod">
          <ac:chgData name="HOLDSWORTH, Izabela (NHS ENGLAND)" userId="c22b7b74-04e3-4b4c-a77a-6bbce117539e" providerId="ADAL" clId="{0A2AB69B-F97C-4C94-9ABF-F6157FA215A1}" dt="2025-10-01T15:57:13.173" v="3357" actId="121"/>
          <ac:spMkLst>
            <pc:docMk/>
            <pc:sldMk cId="1644197056" sldId="262"/>
            <ac:spMk id="3" creationId="{DAFF91A7-5AB6-000F-ABA2-FCE1D5306765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4" creationId="{9A74E775-6B62-0E9E-91BE-A357889BB710}"/>
          </ac:spMkLst>
        </pc:spChg>
        <pc:spChg chg="add mod">
          <ac:chgData name="HOLDSWORTH, Izabela (NHS ENGLAND)" userId="c22b7b74-04e3-4b4c-a77a-6bbce117539e" providerId="ADAL" clId="{0A2AB69B-F97C-4C94-9ABF-F6157FA215A1}" dt="2025-10-01T12:50:48.558" v="1666"/>
          <ac:spMkLst>
            <pc:docMk/>
            <pc:sldMk cId="1644197056" sldId="262"/>
            <ac:spMk id="4" creationId="{D7FDF682-29EB-1CA3-C4AE-3653DEC9BD87}"/>
          </ac:spMkLst>
        </pc:spChg>
        <pc:spChg chg="del mod">
          <ac:chgData name="HOLDSWORTH, Izabela (NHS ENGLAND)" userId="c22b7b74-04e3-4b4c-a77a-6bbce117539e" providerId="ADAL" clId="{0A2AB69B-F97C-4C94-9ABF-F6157FA215A1}" dt="2025-10-01T12:25:39.779" v="1380" actId="478"/>
          <ac:spMkLst>
            <pc:docMk/>
            <pc:sldMk cId="1644197056" sldId="262"/>
            <ac:spMk id="5" creationId="{C2CD0252-082E-E46B-9E45-EC95DA1E4865}"/>
          </ac:spMkLst>
        </pc:spChg>
        <pc:spChg chg="add mod">
          <ac:chgData name="HOLDSWORTH, Izabela (NHS ENGLAND)" userId="c22b7b74-04e3-4b4c-a77a-6bbce117539e" providerId="ADAL" clId="{0A2AB69B-F97C-4C94-9ABF-F6157FA215A1}" dt="2025-10-01T15:26:57.043" v="2568" actId="20577"/>
          <ac:spMkLst>
            <pc:docMk/>
            <pc:sldMk cId="1644197056" sldId="262"/>
            <ac:spMk id="6" creationId="{096B078D-C1D2-938C-7245-16740515750B}"/>
          </ac:spMkLst>
        </pc:spChg>
        <pc:spChg chg="del mod">
          <ac:chgData name="HOLDSWORTH, Izabela (NHS ENGLAND)" userId="c22b7b74-04e3-4b4c-a77a-6bbce117539e" providerId="ADAL" clId="{0A2AB69B-F97C-4C94-9ABF-F6157FA215A1}" dt="2025-10-01T10:56:32.827" v="62" actId="478"/>
          <ac:spMkLst>
            <pc:docMk/>
            <pc:sldMk cId="1644197056" sldId="262"/>
            <ac:spMk id="6" creationId="{2C522E66-3501-F4E8-2D2D-4ACCBC249AB9}"/>
          </ac:spMkLst>
        </pc:spChg>
        <pc:spChg chg="add mod">
          <ac:chgData name="HOLDSWORTH, Izabela (NHS ENGLAND)" userId="c22b7b74-04e3-4b4c-a77a-6bbce117539e" providerId="ADAL" clId="{0A2AB69B-F97C-4C94-9ABF-F6157FA215A1}" dt="2025-10-01T13:50:29.605" v="1796" actId="14100"/>
          <ac:spMkLst>
            <pc:docMk/>
            <pc:sldMk cId="1644197056" sldId="262"/>
            <ac:spMk id="7" creationId="{EE1FDD2C-FCB4-5DDE-FE63-6614CA6A22F7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7" creationId="{F459B8C9-2CFD-2A79-238F-467315DC20F4}"/>
          </ac:spMkLst>
        </pc:spChg>
        <pc:spChg chg="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8" creationId="{F74234D4-CCF1-95A2-AAF7-D3BF205442EF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9" creationId="{7642529D-2811-B992-D4C4-D47E1EBD4459}"/>
          </ac:spMkLst>
        </pc:spChg>
        <pc:spChg chg="add mod">
          <ac:chgData name="HOLDSWORTH, Izabela (NHS ENGLAND)" userId="c22b7b74-04e3-4b4c-a77a-6bbce117539e" providerId="ADAL" clId="{0A2AB69B-F97C-4C94-9ABF-F6157FA215A1}" dt="2025-10-01T14:22:41.288" v="2479" actId="207"/>
          <ac:spMkLst>
            <pc:docMk/>
            <pc:sldMk cId="1644197056" sldId="262"/>
            <ac:spMk id="9" creationId="{9EC6188B-03F2-6DA5-07C7-59FE835C17EA}"/>
          </ac:spMkLst>
        </pc:spChg>
        <pc:spChg chg="add mod">
          <ac:chgData name="HOLDSWORTH, Izabela (NHS ENGLAND)" userId="c22b7b74-04e3-4b4c-a77a-6bbce117539e" providerId="ADAL" clId="{0A2AB69B-F97C-4C94-9ABF-F6157FA215A1}" dt="2025-10-01T11:56:56.609" v="1079" actId="207"/>
          <ac:spMkLst>
            <pc:docMk/>
            <pc:sldMk cId="1644197056" sldId="262"/>
            <ac:spMk id="10" creationId="{5253A094-8F38-75E5-827F-7249BF2B7A19}"/>
          </ac:spMkLst>
        </pc:spChg>
        <pc:spChg chg="mod">
          <ac:chgData name="HOLDSWORTH, Izabela (NHS ENGLAND)" userId="c22b7b74-04e3-4b4c-a77a-6bbce117539e" providerId="ADAL" clId="{0A2AB69B-F97C-4C94-9ABF-F6157FA215A1}" dt="2025-10-01T11:56:56.609" v="1079" actId="207"/>
          <ac:spMkLst>
            <pc:docMk/>
            <pc:sldMk cId="1644197056" sldId="262"/>
            <ac:spMk id="11" creationId="{61F5E54D-78A6-032D-66F3-03D0C6EC3E5B}"/>
          </ac:spMkLst>
        </pc:spChg>
        <pc:spChg chg="mod">
          <ac:chgData name="HOLDSWORTH, Izabela (NHS ENGLAND)" userId="c22b7b74-04e3-4b4c-a77a-6bbce117539e" providerId="ADAL" clId="{0A2AB69B-F97C-4C94-9ABF-F6157FA215A1}" dt="2025-10-01T11:56:56.609" v="1079" actId="207"/>
          <ac:spMkLst>
            <pc:docMk/>
            <pc:sldMk cId="1644197056" sldId="262"/>
            <ac:spMk id="12" creationId="{FE3A9CE4-0914-8F22-A4D0-FC5F5F2346F9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13" creationId="{487550E5-1FB3-2D76-9674-4EB09BA49613}"/>
          </ac:spMkLst>
        </pc:spChg>
        <pc:spChg chg="add mod">
          <ac:chgData name="HOLDSWORTH, Izabela (NHS ENGLAND)" userId="c22b7b74-04e3-4b4c-a77a-6bbce117539e" providerId="ADAL" clId="{0A2AB69B-F97C-4C94-9ABF-F6157FA215A1}" dt="2025-10-01T11:56:56.609" v="1079" actId="207"/>
          <ac:spMkLst>
            <pc:docMk/>
            <pc:sldMk cId="1644197056" sldId="262"/>
            <ac:spMk id="14" creationId="{60CD0F69-C4E2-3B8C-8BC8-184F7F623E88}"/>
          </ac:spMkLst>
        </pc:spChg>
        <pc:spChg chg="mod">
          <ac:chgData name="HOLDSWORTH, Izabela (NHS ENGLAND)" userId="c22b7b74-04e3-4b4c-a77a-6bbce117539e" providerId="ADAL" clId="{0A2AB69B-F97C-4C94-9ABF-F6157FA215A1}" dt="2025-10-01T10:53:27.536" v="7" actId="1076"/>
          <ac:spMkLst>
            <pc:docMk/>
            <pc:sldMk cId="1644197056" sldId="262"/>
            <ac:spMk id="16" creationId="{C2F97E94-6686-6BD9-D58F-C367F4BE432D}"/>
          </ac:spMkLst>
        </pc:spChg>
        <pc:spChg chg="mod">
          <ac:chgData name="HOLDSWORTH, Izabela (NHS ENGLAND)" userId="c22b7b74-04e3-4b4c-a77a-6bbce117539e" providerId="ADAL" clId="{0A2AB69B-F97C-4C94-9ABF-F6157FA215A1}" dt="2025-10-01T10:53:27.536" v="7" actId="1076"/>
          <ac:spMkLst>
            <pc:docMk/>
            <pc:sldMk cId="1644197056" sldId="262"/>
            <ac:spMk id="17" creationId="{36A07376-D7E1-149D-FBA2-0189546B2C53}"/>
          </ac:spMkLst>
        </pc:spChg>
        <pc:spChg chg="mod">
          <ac:chgData name="HOLDSWORTH, Izabela (NHS ENGLAND)" userId="c22b7b74-04e3-4b4c-a77a-6bbce117539e" providerId="ADAL" clId="{0A2AB69B-F97C-4C94-9ABF-F6157FA215A1}" dt="2025-10-01T10:53:27.536" v="7" actId="1076"/>
          <ac:spMkLst>
            <pc:docMk/>
            <pc:sldMk cId="1644197056" sldId="262"/>
            <ac:spMk id="22" creationId="{53F71BE7-0A0D-0E8E-3C91-6630F0CEE6E8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26" creationId="{B07B250B-A69D-1AD9-9990-F4814F7F0804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27" creationId="{31B0EC53-8015-8EAC-0A8A-5D72FCCECB7E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6.859" v="1373" actId="478"/>
          <ac:spMkLst>
            <pc:docMk/>
            <pc:sldMk cId="1644197056" sldId="262"/>
            <ac:spMk id="28" creationId="{253543EC-0C68-8BDB-6CDD-4E30F39B684E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29" creationId="{65C9FC3A-FDA0-204F-2CF4-F79CEEB69624}"/>
          </ac:spMkLst>
        </pc:spChg>
        <pc:spChg chg="add del mod">
          <ac:chgData name="HOLDSWORTH, Izabela (NHS ENGLAND)" userId="c22b7b74-04e3-4b4c-a77a-6bbce117539e" providerId="ADAL" clId="{0A2AB69B-F97C-4C94-9ABF-F6157FA215A1}" dt="2025-10-01T12:25:14.195" v="1372" actId="478"/>
          <ac:spMkLst>
            <pc:docMk/>
            <pc:sldMk cId="1644197056" sldId="262"/>
            <ac:spMk id="30" creationId="{BFA202AE-3D12-69A6-16F4-7FEE0C02D2B9}"/>
          </ac:spMkLst>
        </pc:spChg>
        <pc:spChg chg="add del mod">
          <ac:chgData name="HOLDSWORTH, Izabela (NHS ENGLAND)" userId="c22b7b74-04e3-4b4c-a77a-6bbce117539e" providerId="ADAL" clId="{0A2AB69B-F97C-4C94-9ABF-F6157FA215A1}" dt="2025-10-01T11:43:31.074" v="931" actId="478"/>
          <ac:spMkLst>
            <pc:docMk/>
            <pc:sldMk cId="1644197056" sldId="262"/>
            <ac:spMk id="32" creationId="{836EEB15-097C-83A1-B0B3-E7E5AFCD75E2}"/>
          </ac:spMkLst>
        </pc:spChg>
        <pc:spChg chg="add del mod">
          <ac:chgData name="HOLDSWORTH, Izabela (NHS ENGLAND)" userId="c22b7b74-04e3-4b4c-a77a-6bbce117539e" providerId="ADAL" clId="{0A2AB69B-F97C-4C94-9ABF-F6157FA215A1}" dt="2025-10-01T11:44:09.010" v="943" actId="478"/>
          <ac:spMkLst>
            <pc:docMk/>
            <pc:sldMk cId="1644197056" sldId="262"/>
            <ac:spMk id="34" creationId="{76C6FAED-71D5-ED3A-C619-21E2EDFFC851}"/>
          </ac:spMkLst>
        </pc:spChg>
        <pc:spChg chg="add del mod">
          <ac:chgData name="HOLDSWORTH, Izabela (NHS ENGLAND)" userId="c22b7b74-04e3-4b4c-a77a-6bbce117539e" providerId="ADAL" clId="{0A2AB69B-F97C-4C94-9ABF-F6157FA215A1}" dt="2025-10-01T11:44:33.023" v="949" actId="478"/>
          <ac:spMkLst>
            <pc:docMk/>
            <pc:sldMk cId="1644197056" sldId="262"/>
            <ac:spMk id="36" creationId="{671A2C19-9E78-1C8E-1565-FBCD03B79A1C}"/>
          </ac:spMkLst>
        </pc:spChg>
        <pc:spChg chg="add del mod">
          <ac:chgData name="HOLDSWORTH, Izabela (NHS ENGLAND)" userId="c22b7b74-04e3-4b4c-a77a-6bbce117539e" providerId="ADAL" clId="{0A2AB69B-F97C-4C94-9ABF-F6157FA215A1}" dt="2025-10-01T11:45:09.441" v="959" actId="478"/>
          <ac:spMkLst>
            <pc:docMk/>
            <pc:sldMk cId="1644197056" sldId="262"/>
            <ac:spMk id="38" creationId="{C3FD659A-A055-D5F1-ACC2-AA70C3255555}"/>
          </ac:spMkLst>
        </pc:spChg>
        <pc:spChg chg="add del mod">
          <ac:chgData name="HOLDSWORTH, Izabela (NHS ENGLAND)" userId="c22b7b74-04e3-4b4c-a77a-6bbce117539e" providerId="ADAL" clId="{0A2AB69B-F97C-4C94-9ABF-F6157FA215A1}" dt="2025-10-01T11:44:52.359" v="954" actId="478"/>
          <ac:spMkLst>
            <pc:docMk/>
            <pc:sldMk cId="1644197056" sldId="262"/>
            <ac:spMk id="40" creationId="{EF8A78E2-82D9-BA57-6478-76F58CAE1212}"/>
          </ac:spMkLst>
        </pc:spChg>
        <pc:spChg chg="add del mod">
          <ac:chgData name="HOLDSWORTH, Izabela (NHS ENGLAND)" userId="c22b7b74-04e3-4b4c-a77a-6bbce117539e" providerId="ADAL" clId="{0A2AB69B-F97C-4C94-9ABF-F6157FA215A1}" dt="2025-10-01T11:53:37.944" v="1041" actId="478"/>
          <ac:spMkLst>
            <pc:docMk/>
            <pc:sldMk cId="1644197056" sldId="262"/>
            <ac:spMk id="61" creationId="{008C8483-D8F8-A56F-EFC9-FF19AA0175C7}"/>
          </ac:spMkLst>
        </pc:spChg>
        <pc:spChg chg="add del mod">
          <ac:chgData name="HOLDSWORTH, Izabela (NHS ENGLAND)" userId="c22b7b74-04e3-4b4c-a77a-6bbce117539e" providerId="ADAL" clId="{0A2AB69B-F97C-4C94-9ABF-F6157FA215A1}" dt="2025-10-01T11:53:39.911" v="1042" actId="478"/>
          <ac:spMkLst>
            <pc:docMk/>
            <pc:sldMk cId="1644197056" sldId="262"/>
            <ac:spMk id="62" creationId="{979B2DAF-74B0-9FE3-D893-7EA620DD607C}"/>
          </ac:spMkLst>
        </pc:spChg>
        <pc:spChg chg="add del mod">
          <ac:chgData name="HOLDSWORTH, Izabela (NHS ENGLAND)" userId="c22b7b74-04e3-4b4c-a77a-6bbce117539e" providerId="ADAL" clId="{0A2AB69B-F97C-4C94-9ABF-F6157FA215A1}" dt="2025-10-01T11:53:41.230" v="1043" actId="478"/>
          <ac:spMkLst>
            <pc:docMk/>
            <pc:sldMk cId="1644197056" sldId="262"/>
            <ac:spMk id="63" creationId="{441543F0-AB68-C533-B02C-0E35833A6956}"/>
          </ac:spMkLst>
        </pc:spChg>
        <pc:spChg chg="add del mod">
          <ac:chgData name="HOLDSWORTH, Izabela (NHS ENGLAND)" userId="c22b7b74-04e3-4b4c-a77a-6bbce117539e" providerId="ADAL" clId="{0A2AB69B-F97C-4C94-9ABF-F6157FA215A1}" dt="2025-10-01T11:53:42.061" v="1044" actId="478"/>
          <ac:spMkLst>
            <pc:docMk/>
            <pc:sldMk cId="1644197056" sldId="262"/>
            <ac:spMk id="64" creationId="{4B9FD44B-4A38-61AC-945E-A3F7632D4AC5}"/>
          </ac:spMkLst>
        </pc:spChg>
        <pc:spChg chg="add del mod">
          <ac:chgData name="HOLDSWORTH, Izabela (NHS ENGLAND)" userId="c22b7b74-04e3-4b4c-a77a-6bbce117539e" providerId="ADAL" clId="{0A2AB69B-F97C-4C94-9ABF-F6157FA215A1}" dt="2025-10-01T11:53:42.895" v="1045" actId="478"/>
          <ac:spMkLst>
            <pc:docMk/>
            <pc:sldMk cId="1644197056" sldId="262"/>
            <ac:spMk id="65" creationId="{CCC411C6-E9F1-381B-A39F-3BD916E8D834}"/>
          </ac:spMkLst>
        </pc:spChg>
        <pc:spChg chg="add mod">
          <ac:chgData name="HOLDSWORTH, Izabela (NHS ENGLAND)" userId="c22b7b74-04e3-4b4c-a77a-6bbce117539e" providerId="ADAL" clId="{0A2AB69B-F97C-4C94-9ABF-F6157FA215A1}" dt="2025-10-01T17:07:31.062" v="3859" actId="207"/>
          <ac:spMkLst>
            <pc:docMk/>
            <pc:sldMk cId="1644197056" sldId="262"/>
            <ac:spMk id="66" creationId="{45A576B1-96F0-8DE9-F890-6D35BAB5B575}"/>
          </ac:spMkLst>
        </pc:spChg>
        <pc:spChg chg="del mod">
          <ac:chgData name="HOLDSWORTH, Izabela (NHS ENGLAND)" userId="c22b7b74-04e3-4b4c-a77a-6bbce117539e" providerId="ADAL" clId="{0A2AB69B-F97C-4C94-9ABF-F6157FA215A1}" dt="2025-10-01T13:46:15.301" v="1765" actId="26606"/>
          <ac:spMkLst>
            <pc:docMk/>
            <pc:sldMk cId="1644197056" sldId="262"/>
            <ac:spMk id="79" creationId="{B1A1B139-BCE8-5DA8-72AF-37B5695A82AE}"/>
          </ac:spMkLst>
        </pc:spChg>
        <pc:grpChg chg="del">
          <ac:chgData name="HOLDSWORTH, Izabela (NHS ENGLAND)" userId="c22b7b74-04e3-4b4c-a77a-6bbce117539e" providerId="ADAL" clId="{0A2AB69B-F97C-4C94-9ABF-F6157FA215A1}" dt="2025-10-01T10:56:18.476" v="55" actId="478"/>
          <ac:grpSpMkLst>
            <pc:docMk/>
            <pc:sldMk cId="1644197056" sldId="262"/>
            <ac:grpSpMk id="15" creationId="{E76E3A9A-1034-82D0-AF42-2540A8C9A6E9}"/>
          </ac:grpSpMkLst>
        </pc:grpChg>
        <pc:grpChg chg="del">
          <ac:chgData name="HOLDSWORTH, Izabela (NHS ENGLAND)" userId="c22b7b74-04e3-4b4c-a77a-6bbce117539e" providerId="ADAL" clId="{0A2AB69B-F97C-4C94-9ABF-F6157FA215A1}" dt="2025-10-01T10:55:52.562" v="49" actId="478"/>
          <ac:grpSpMkLst>
            <pc:docMk/>
            <pc:sldMk cId="1644197056" sldId="262"/>
            <ac:grpSpMk id="18" creationId="{A4765252-571D-757B-78FC-441EEA2069F9}"/>
          </ac:grpSpMkLst>
        </pc:grpChg>
        <pc:grpChg chg="del">
          <ac:chgData name="HOLDSWORTH, Izabela (NHS ENGLAND)" userId="c22b7b74-04e3-4b4c-a77a-6bbce117539e" providerId="ADAL" clId="{0A2AB69B-F97C-4C94-9ABF-F6157FA215A1}" dt="2025-10-01T10:55:30.689" v="39" actId="478"/>
          <ac:grpSpMkLst>
            <pc:docMk/>
            <pc:sldMk cId="1644197056" sldId="262"/>
            <ac:grpSpMk id="21" creationId="{5600D1A1-ECB0-7C2A-4F5B-D73881E15342}"/>
          </ac:grpSpMkLst>
        </pc:grpChg>
        <pc:graphicFrameChg chg="add mod">
          <ac:chgData name="HOLDSWORTH, Izabela (NHS ENGLAND)" userId="c22b7b74-04e3-4b4c-a77a-6bbce117539e" providerId="ADAL" clId="{0A2AB69B-F97C-4C94-9ABF-F6157FA215A1}" dt="2025-10-01T16:08:47.775" v="3521" actId="113"/>
          <ac:graphicFrameMkLst>
            <pc:docMk/>
            <pc:sldMk cId="1644197056" sldId="262"/>
            <ac:graphicFrameMk id="81" creationId="{08CC4833-1EE1-9D49-1FF9-DDEBF0EA063B}"/>
          </ac:graphicFrameMkLst>
        </pc:graphicFrameChg>
        <pc:picChg chg="add mod">
          <ac:chgData name="HOLDSWORTH, Izabela (NHS ENGLAND)" userId="c22b7b74-04e3-4b4c-a77a-6bbce117539e" providerId="ADAL" clId="{0A2AB69B-F97C-4C94-9ABF-F6157FA215A1}" dt="2025-10-01T13:08:35.709" v="1672"/>
          <ac:picMkLst>
            <pc:docMk/>
            <pc:sldMk cId="1644197056" sldId="262"/>
            <ac:picMk id="5" creationId="{75D4E7DF-7228-1AFA-45BE-83AFE504057E}"/>
          </ac:picMkLst>
        </pc:picChg>
        <pc:picChg chg="add mod modCrop">
          <ac:chgData name="HOLDSWORTH, Izabela (NHS ENGLAND)" userId="c22b7b74-04e3-4b4c-a77a-6bbce117539e" providerId="ADAL" clId="{0A2AB69B-F97C-4C94-9ABF-F6157FA215A1}" dt="2025-10-01T15:46:05.158" v="3152" actId="14100"/>
          <ac:picMkLst>
            <pc:docMk/>
            <pc:sldMk cId="1644197056" sldId="262"/>
            <ac:picMk id="10" creationId="{4D9F1697-BCD7-0D8C-909B-012DE89B7D94}"/>
          </ac:picMkLst>
        </pc:picChg>
        <pc:picChg chg="add del mod">
          <ac:chgData name="HOLDSWORTH, Izabela (NHS ENGLAND)" userId="c22b7b74-04e3-4b4c-a77a-6bbce117539e" providerId="ADAL" clId="{0A2AB69B-F97C-4C94-9ABF-F6157FA215A1}" dt="2025-10-01T11:00:44.706" v="110" actId="478"/>
          <ac:picMkLst>
            <pc:docMk/>
            <pc:sldMk cId="1644197056" sldId="262"/>
            <ac:picMk id="24" creationId="{0797CC70-D578-5DC3-3583-B78C2E4F65B9}"/>
          </ac:picMkLst>
        </pc:picChg>
        <pc:picChg chg="add del mod">
          <ac:chgData name="HOLDSWORTH, Izabela (NHS ENGLAND)" userId="c22b7b74-04e3-4b4c-a77a-6bbce117539e" providerId="ADAL" clId="{0A2AB69B-F97C-4C94-9ABF-F6157FA215A1}" dt="2025-10-01T13:08:34.764" v="1671" actId="478"/>
          <ac:picMkLst>
            <pc:docMk/>
            <pc:sldMk cId="1644197056" sldId="262"/>
            <ac:picMk id="25" creationId="{6AE8FA68-2D05-D957-1B36-D65114064FF3}"/>
          </ac:picMkLst>
        </pc:picChg>
        <pc:picChg chg="add del mod">
          <ac:chgData name="HOLDSWORTH, Izabela (NHS ENGLAND)" userId="c22b7b74-04e3-4b4c-a77a-6bbce117539e" providerId="ADAL" clId="{0A2AB69B-F97C-4C94-9ABF-F6157FA215A1}" dt="2025-10-01T11:35:20.558" v="886" actId="478"/>
          <ac:picMkLst>
            <pc:docMk/>
            <pc:sldMk cId="1644197056" sldId="262"/>
            <ac:picMk id="42" creationId="{142A120C-721E-6BF1-D50F-B9B10074AF14}"/>
          </ac:picMkLst>
        </pc:picChg>
        <pc:picChg chg="add del mod">
          <ac:chgData name="HOLDSWORTH, Izabela (NHS ENGLAND)" userId="c22b7b74-04e3-4b4c-a77a-6bbce117539e" providerId="ADAL" clId="{0A2AB69B-F97C-4C94-9ABF-F6157FA215A1}" dt="2025-10-01T11:34:50.392" v="880" actId="478"/>
          <ac:picMkLst>
            <pc:docMk/>
            <pc:sldMk cId="1644197056" sldId="262"/>
            <ac:picMk id="44" creationId="{1FEF9EB1-D2E9-6D27-CAFB-4677EC14F2E7}"/>
          </ac:picMkLst>
        </pc:picChg>
        <pc:picChg chg="add mod">
          <ac:chgData name="HOLDSWORTH, Izabela (NHS ENGLAND)" userId="c22b7b74-04e3-4b4c-a77a-6bbce117539e" providerId="ADAL" clId="{0A2AB69B-F97C-4C94-9ABF-F6157FA215A1}" dt="2025-10-01T11:31:59.130" v="854" actId="931"/>
          <ac:picMkLst>
            <pc:docMk/>
            <pc:sldMk cId="1644197056" sldId="262"/>
            <ac:picMk id="46" creationId="{1557BEEC-4FA0-8C60-45E1-35C5A8429733}"/>
          </ac:picMkLst>
        </pc:picChg>
        <pc:picChg chg="add del mod">
          <ac:chgData name="HOLDSWORTH, Izabela (NHS ENGLAND)" userId="c22b7b74-04e3-4b4c-a77a-6bbce117539e" providerId="ADAL" clId="{0A2AB69B-F97C-4C94-9ABF-F6157FA215A1}" dt="2025-10-01T11:38:01.770" v="893" actId="478"/>
          <ac:picMkLst>
            <pc:docMk/>
            <pc:sldMk cId="1644197056" sldId="262"/>
            <ac:picMk id="48" creationId="{342F48A7-8458-D21E-1EC0-71E978682927}"/>
          </ac:picMkLst>
        </pc:picChg>
        <pc:picChg chg="add mod">
          <ac:chgData name="HOLDSWORTH, Izabela (NHS ENGLAND)" userId="c22b7b74-04e3-4b4c-a77a-6bbce117539e" providerId="ADAL" clId="{0A2AB69B-F97C-4C94-9ABF-F6157FA215A1}" dt="2025-10-01T11:36:44.034" v="892" actId="14100"/>
          <ac:picMkLst>
            <pc:docMk/>
            <pc:sldMk cId="1644197056" sldId="262"/>
            <ac:picMk id="50" creationId="{6C1D72C6-C02B-6CF0-E81D-A7D85A789EBF}"/>
          </ac:picMkLst>
        </pc:picChg>
        <pc:picChg chg="add mod">
          <ac:chgData name="HOLDSWORTH, Izabela (NHS ENGLAND)" userId="c22b7b74-04e3-4b4c-a77a-6bbce117539e" providerId="ADAL" clId="{0A2AB69B-F97C-4C94-9ABF-F6157FA215A1}" dt="2025-10-01T11:36:44.034" v="892" actId="14100"/>
          <ac:picMkLst>
            <pc:docMk/>
            <pc:sldMk cId="1644197056" sldId="262"/>
            <ac:picMk id="52" creationId="{D5887995-ED34-97B7-8CEA-91493638032C}"/>
          </ac:picMkLst>
        </pc:picChg>
        <pc:picChg chg="add mod">
          <ac:chgData name="HOLDSWORTH, Izabela (NHS ENGLAND)" userId="c22b7b74-04e3-4b4c-a77a-6bbce117539e" providerId="ADAL" clId="{0A2AB69B-F97C-4C94-9ABF-F6157FA215A1}" dt="2025-10-01T11:36:44.034" v="892" actId="14100"/>
          <ac:picMkLst>
            <pc:docMk/>
            <pc:sldMk cId="1644197056" sldId="262"/>
            <ac:picMk id="54" creationId="{E3EAB4A0-2AD5-FDDD-2B02-111696C1B94C}"/>
          </ac:picMkLst>
        </pc:picChg>
        <pc:picChg chg="add del mod">
          <ac:chgData name="HOLDSWORTH, Izabela (NHS ENGLAND)" userId="c22b7b74-04e3-4b4c-a77a-6bbce117539e" providerId="ADAL" clId="{0A2AB69B-F97C-4C94-9ABF-F6157FA215A1}" dt="2025-10-01T11:39:00.923" v="899" actId="478"/>
          <ac:picMkLst>
            <pc:docMk/>
            <pc:sldMk cId="1644197056" sldId="262"/>
            <ac:picMk id="56" creationId="{14F1C7E9-1970-AA3A-2B20-99A5AC94264B}"/>
          </ac:picMkLst>
        </pc:picChg>
        <pc:picChg chg="add mod">
          <ac:chgData name="HOLDSWORTH, Izabela (NHS ENGLAND)" userId="c22b7b74-04e3-4b4c-a77a-6bbce117539e" providerId="ADAL" clId="{0A2AB69B-F97C-4C94-9ABF-F6157FA215A1}" dt="2025-10-01T11:41:17.446" v="907" actId="1076"/>
          <ac:picMkLst>
            <pc:docMk/>
            <pc:sldMk cId="1644197056" sldId="262"/>
            <ac:picMk id="58" creationId="{C52FCB78-6D5C-A590-1374-35A34B26E944}"/>
          </ac:picMkLst>
        </pc:picChg>
        <pc:picChg chg="add mod">
          <ac:chgData name="HOLDSWORTH, Izabela (NHS ENGLAND)" userId="c22b7b74-04e3-4b4c-a77a-6bbce117539e" providerId="ADAL" clId="{0A2AB69B-F97C-4C94-9ABF-F6157FA215A1}" dt="2025-10-01T11:41:07.109" v="905" actId="1076"/>
          <ac:picMkLst>
            <pc:docMk/>
            <pc:sldMk cId="1644197056" sldId="262"/>
            <ac:picMk id="60" creationId="{35961897-0334-C04A-1078-448E7B10E3AE}"/>
          </ac:picMkLst>
        </pc:picChg>
        <pc:picChg chg="add del mod">
          <ac:chgData name="HOLDSWORTH, Izabela (NHS ENGLAND)" userId="c22b7b74-04e3-4b4c-a77a-6bbce117539e" providerId="ADAL" clId="{0A2AB69B-F97C-4C94-9ABF-F6157FA215A1}" dt="2025-10-01T12:46:31.085" v="1661" actId="478"/>
          <ac:picMkLst>
            <pc:docMk/>
            <pc:sldMk cId="1644197056" sldId="262"/>
            <ac:picMk id="80" creationId="{01E4FCFC-FBA7-E427-5F55-498527E7344F}"/>
          </ac:picMkLst>
        </pc:picChg>
        <pc:cxnChg chg="add mod">
          <ac:chgData name="HOLDSWORTH, Izabela (NHS ENGLAND)" userId="c22b7b74-04e3-4b4c-a77a-6bbce117539e" providerId="ADAL" clId="{0A2AB69B-F97C-4C94-9ABF-F6157FA215A1}" dt="2025-10-01T14:09:31.739" v="2235" actId="14100"/>
          <ac:cxnSpMkLst>
            <pc:docMk/>
            <pc:sldMk cId="1644197056" sldId="262"/>
            <ac:cxnSpMk id="11" creationId="{12672F96-838B-70F7-3E4E-D0CCC02C07E5}"/>
          </ac:cxnSpMkLst>
        </pc:cxnChg>
        <pc:cxnChg chg="add mod">
          <ac:chgData name="HOLDSWORTH, Izabela (NHS ENGLAND)" userId="c22b7b74-04e3-4b4c-a77a-6bbce117539e" providerId="ADAL" clId="{0A2AB69B-F97C-4C94-9ABF-F6157FA215A1}" dt="2025-10-01T11:55:42.159" v="1067" actId="14100"/>
          <ac:cxnSpMkLst>
            <pc:docMk/>
            <pc:sldMk cId="1644197056" sldId="262"/>
            <ac:cxnSpMk id="67" creationId="{F11FBB55-2264-E7CE-B5AA-2E5E161FA07C}"/>
          </ac:cxnSpMkLst>
        </pc:cxnChg>
        <pc:cxnChg chg="add del mod">
          <ac:chgData name="HOLDSWORTH, Izabela (NHS ENGLAND)" userId="c22b7b74-04e3-4b4c-a77a-6bbce117539e" providerId="ADAL" clId="{0A2AB69B-F97C-4C94-9ABF-F6157FA215A1}" dt="2025-10-01T11:55:18.846" v="1062" actId="478"/>
          <ac:cxnSpMkLst>
            <pc:docMk/>
            <pc:sldMk cId="1644197056" sldId="262"/>
            <ac:cxnSpMk id="69" creationId="{253CF9FE-2CCA-ADEC-9E1B-1F45ED1B2E14}"/>
          </ac:cxnSpMkLst>
        </pc:cxnChg>
        <pc:cxnChg chg="add mod">
          <ac:chgData name="HOLDSWORTH, Izabela (NHS ENGLAND)" userId="c22b7b74-04e3-4b4c-a77a-6bbce117539e" providerId="ADAL" clId="{0A2AB69B-F97C-4C94-9ABF-F6157FA215A1}" dt="2025-10-01T11:55:36.318" v="1066" actId="14100"/>
          <ac:cxnSpMkLst>
            <pc:docMk/>
            <pc:sldMk cId="1644197056" sldId="262"/>
            <ac:cxnSpMk id="72" creationId="{01AF3BC6-45EF-B923-C829-1C34C9E0B2EF}"/>
          </ac:cxnSpMkLst>
        </pc:cxnChg>
        <pc:cxnChg chg="add mod">
          <ac:chgData name="HOLDSWORTH, Izabela (NHS ENGLAND)" userId="c22b7b74-04e3-4b4c-a77a-6bbce117539e" providerId="ADAL" clId="{0A2AB69B-F97C-4C94-9ABF-F6157FA215A1}" dt="2025-10-01T11:56:01.972" v="1072" actId="1076"/>
          <ac:cxnSpMkLst>
            <pc:docMk/>
            <pc:sldMk cId="1644197056" sldId="262"/>
            <ac:cxnSpMk id="76" creationId="{92B1C448-6EF5-C34C-48B1-94183830D38A}"/>
          </ac:cxnSpMkLst>
        </pc:cxnChg>
        <pc:cxnChg chg="add mod">
          <ac:chgData name="HOLDSWORTH, Izabela (NHS ENGLAND)" userId="c22b7b74-04e3-4b4c-a77a-6bbce117539e" providerId="ADAL" clId="{0A2AB69B-F97C-4C94-9ABF-F6157FA215A1}" dt="2025-10-01T11:56:34.886" v="1078" actId="1076"/>
          <ac:cxnSpMkLst>
            <pc:docMk/>
            <pc:sldMk cId="1644197056" sldId="262"/>
            <ac:cxnSpMk id="77" creationId="{2E0654AF-E990-02A3-B159-285E8EDA42B3}"/>
          </ac:cxnSpMkLst>
        </pc:cxnChg>
        <pc:cxnChg chg="add mod">
          <ac:chgData name="HOLDSWORTH, Izabela (NHS ENGLAND)" userId="c22b7b74-04e3-4b4c-a77a-6bbce117539e" providerId="ADAL" clId="{0A2AB69B-F97C-4C94-9ABF-F6157FA215A1}" dt="2025-10-01T11:56:31.489" v="1077" actId="1076"/>
          <ac:cxnSpMkLst>
            <pc:docMk/>
            <pc:sldMk cId="1644197056" sldId="262"/>
            <ac:cxnSpMk id="78" creationId="{7E2E1032-2919-0ABA-78ED-FBAC19AA1F2E}"/>
          </ac:cxnSpMkLst>
        </pc:cxnChg>
      </pc:sldChg>
      <pc:sldChg chg="addSp modSp del">
        <pc:chgData name="HOLDSWORTH, Izabela (NHS ENGLAND)" userId="c22b7b74-04e3-4b4c-a77a-6bbce117539e" providerId="ADAL" clId="{0A2AB69B-F97C-4C94-9ABF-F6157FA215A1}" dt="2025-10-01T11:18:38.090" v="245" actId="47"/>
        <pc:sldMkLst>
          <pc:docMk/>
          <pc:sldMk cId="1277616896" sldId="264"/>
        </pc:sldMkLst>
        <pc:picChg chg="add mod">
          <ac:chgData name="HOLDSWORTH, Izabela (NHS ENGLAND)" userId="c22b7b74-04e3-4b4c-a77a-6bbce117539e" providerId="ADAL" clId="{0A2AB69B-F97C-4C94-9ABF-F6157FA215A1}" dt="2025-10-01T11:01:11.856" v="114"/>
          <ac:picMkLst>
            <pc:docMk/>
            <pc:sldMk cId="1277616896" sldId="264"/>
            <ac:picMk id="3" creationId="{115DBC76-7775-B78F-8FE2-3BB49DE19406}"/>
          </ac:picMkLst>
        </pc:picChg>
      </pc:sldChg>
      <pc:sldChg chg="addSp modSp del mod">
        <pc:chgData name="HOLDSWORTH, Izabela (NHS ENGLAND)" userId="c22b7b74-04e3-4b4c-a77a-6bbce117539e" providerId="ADAL" clId="{0A2AB69B-F97C-4C94-9ABF-F6157FA215A1}" dt="2025-10-01T11:18:39.076" v="246" actId="47"/>
        <pc:sldMkLst>
          <pc:docMk/>
          <pc:sldMk cId="2719181492" sldId="265"/>
        </pc:sldMkLst>
        <pc:spChg chg="mod">
          <ac:chgData name="HOLDSWORTH, Izabela (NHS ENGLAND)" userId="c22b7b74-04e3-4b4c-a77a-6bbce117539e" providerId="ADAL" clId="{0A2AB69B-F97C-4C94-9ABF-F6157FA215A1}" dt="2025-10-01T10:58:02.506" v="81" actId="20577"/>
          <ac:spMkLst>
            <pc:docMk/>
            <pc:sldMk cId="2719181492" sldId="265"/>
            <ac:spMk id="2" creationId="{FB29062B-E746-40AE-AAE3-3C045458E57C}"/>
          </ac:spMkLst>
        </pc:spChg>
        <pc:picChg chg="add mod">
          <ac:chgData name="HOLDSWORTH, Izabela (NHS ENGLAND)" userId="c22b7b74-04e3-4b4c-a77a-6bbce117539e" providerId="ADAL" clId="{0A2AB69B-F97C-4C94-9ABF-F6157FA215A1}" dt="2025-10-01T11:01:13.499" v="115"/>
          <ac:picMkLst>
            <pc:docMk/>
            <pc:sldMk cId="2719181492" sldId="265"/>
            <ac:picMk id="3" creationId="{35E3D7AB-375C-5FDB-398E-1244A9F7C4C0}"/>
          </ac:picMkLst>
        </pc:picChg>
      </pc:sldChg>
      <pc:sldChg chg="addSp modSp del">
        <pc:chgData name="HOLDSWORTH, Izabela (NHS ENGLAND)" userId="c22b7b74-04e3-4b4c-a77a-6bbce117539e" providerId="ADAL" clId="{0A2AB69B-F97C-4C94-9ABF-F6157FA215A1}" dt="2025-10-01T11:18:39.894" v="247" actId="47"/>
        <pc:sldMkLst>
          <pc:docMk/>
          <pc:sldMk cId="2198399779" sldId="266"/>
        </pc:sldMkLst>
        <pc:picChg chg="add mod">
          <ac:chgData name="HOLDSWORTH, Izabela (NHS ENGLAND)" userId="c22b7b74-04e3-4b4c-a77a-6bbce117539e" providerId="ADAL" clId="{0A2AB69B-F97C-4C94-9ABF-F6157FA215A1}" dt="2025-10-01T11:01:15.510" v="116"/>
          <ac:picMkLst>
            <pc:docMk/>
            <pc:sldMk cId="2198399779" sldId="266"/>
            <ac:picMk id="3" creationId="{B0B806FB-A26E-E287-4AF3-7F51A4A26710}"/>
          </ac:picMkLst>
        </pc:picChg>
      </pc:sldChg>
      <pc:sldChg chg="addSp modSp del">
        <pc:chgData name="HOLDSWORTH, Izabela (NHS ENGLAND)" userId="c22b7b74-04e3-4b4c-a77a-6bbce117539e" providerId="ADAL" clId="{0A2AB69B-F97C-4C94-9ABF-F6157FA215A1}" dt="2025-10-01T11:18:40.878" v="248" actId="47"/>
        <pc:sldMkLst>
          <pc:docMk/>
          <pc:sldMk cId="1561820691" sldId="267"/>
        </pc:sldMkLst>
        <pc:picChg chg="add mod">
          <ac:chgData name="HOLDSWORTH, Izabela (NHS ENGLAND)" userId="c22b7b74-04e3-4b4c-a77a-6bbce117539e" providerId="ADAL" clId="{0A2AB69B-F97C-4C94-9ABF-F6157FA215A1}" dt="2025-10-01T11:01:16.866" v="117"/>
          <ac:picMkLst>
            <pc:docMk/>
            <pc:sldMk cId="1561820691" sldId="267"/>
            <ac:picMk id="3" creationId="{D2317FBE-CB7A-9986-71BB-3BFFCC4FA4F9}"/>
          </ac:picMkLst>
        </pc:picChg>
      </pc:sldChg>
      <pc:sldChg chg="addSp modSp del">
        <pc:chgData name="HOLDSWORTH, Izabela (NHS ENGLAND)" userId="c22b7b74-04e3-4b4c-a77a-6bbce117539e" providerId="ADAL" clId="{0A2AB69B-F97C-4C94-9ABF-F6157FA215A1}" dt="2025-10-01T11:18:41.886" v="249" actId="47"/>
        <pc:sldMkLst>
          <pc:docMk/>
          <pc:sldMk cId="1806804442" sldId="268"/>
        </pc:sldMkLst>
        <pc:picChg chg="add mod">
          <ac:chgData name="HOLDSWORTH, Izabela (NHS ENGLAND)" userId="c22b7b74-04e3-4b4c-a77a-6bbce117539e" providerId="ADAL" clId="{0A2AB69B-F97C-4C94-9ABF-F6157FA215A1}" dt="2025-10-01T11:01:19.029" v="118"/>
          <ac:picMkLst>
            <pc:docMk/>
            <pc:sldMk cId="1806804442" sldId="268"/>
            <ac:picMk id="3" creationId="{1A2E70E4-161B-B4B3-2D9B-492664C110E3}"/>
          </ac:picMkLst>
        </pc:picChg>
      </pc:sldChg>
      <pc:sldChg chg="addSp delSp modSp del mod ord">
        <pc:chgData name="HOLDSWORTH, Izabela (NHS ENGLAND)" userId="c22b7b74-04e3-4b4c-a77a-6bbce117539e" providerId="ADAL" clId="{0A2AB69B-F97C-4C94-9ABF-F6157FA215A1}" dt="2025-10-01T17:04:06.741" v="3814" actId="47"/>
        <pc:sldMkLst>
          <pc:docMk/>
          <pc:sldMk cId="1572711487" sldId="269"/>
        </pc:sldMkLst>
        <pc:spChg chg="mod">
          <ac:chgData name="HOLDSWORTH, Izabela (NHS ENGLAND)" userId="c22b7b74-04e3-4b4c-a77a-6bbce117539e" providerId="ADAL" clId="{0A2AB69B-F97C-4C94-9ABF-F6157FA215A1}" dt="2025-10-01T12:14:45.895" v="1293" actId="20577"/>
          <ac:spMkLst>
            <pc:docMk/>
            <pc:sldMk cId="1572711487" sldId="269"/>
            <ac:spMk id="2" creationId="{F020B5B3-D286-2714-9DE9-6A37C9DCDFD3}"/>
          </ac:spMkLst>
        </pc:spChg>
        <pc:spChg chg="add mod">
          <ac:chgData name="HOLDSWORTH, Izabela (NHS ENGLAND)" userId="c22b7b74-04e3-4b4c-a77a-6bbce117539e" providerId="ADAL" clId="{0A2AB69B-F97C-4C94-9ABF-F6157FA215A1}" dt="2025-10-01T16:54:18.251" v="3772" actId="1076"/>
          <ac:spMkLst>
            <pc:docMk/>
            <pc:sldMk cId="1572711487" sldId="269"/>
            <ac:spMk id="4" creationId="{43A3F21D-C6B1-9612-8BBE-4604B293F9FB}"/>
          </ac:spMkLst>
        </pc:spChg>
        <pc:spChg chg="add del mod">
          <ac:chgData name="HOLDSWORTH, Izabela (NHS ENGLAND)" userId="c22b7b74-04e3-4b4c-a77a-6bbce117539e" providerId="ADAL" clId="{0A2AB69B-F97C-4C94-9ABF-F6157FA215A1}" dt="2025-10-01T11:59:42.156" v="1094" actId="478"/>
          <ac:spMkLst>
            <pc:docMk/>
            <pc:sldMk cId="1572711487" sldId="269"/>
            <ac:spMk id="4" creationId="{FC518944-0462-294B-2AE2-882AFAB79161}"/>
          </ac:spMkLst>
        </pc:spChg>
        <pc:spChg chg="add mod">
          <ac:chgData name="HOLDSWORTH, Izabela (NHS ENGLAND)" userId="c22b7b74-04e3-4b4c-a77a-6bbce117539e" providerId="ADAL" clId="{0A2AB69B-F97C-4C94-9ABF-F6157FA215A1}" dt="2025-10-01T16:54:20.325" v="3773" actId="1076"/>
          <ac:spMkLst>
            <pc:docMk/>
            <pc:sldMk cId="1572711487" sldId="269"/>
            <ac:spMk id="5" creationId="{572E516C-F2DE-88D5-8307-D1F299D49386}"/>
          </ac:spMkLst>
        </pc:spChg>
        <pc:spChg chg="del">
          <ac:chgData name="HOLDSWORTH, Izabela (NHS ENGLAND)" userId="c22b7b74-04e3-4b4c-a77a-6bbce117539e" providerId="ADAL" clId="{0A2AB69B-F97C-4C94-9ABF-F6157FA215A1}" dt="2025-10-01T11:59:43.539" v="1095" actId="478"/>
          <ac:spMkLst>
            <pc:docMk/>
            <pc:sldMk cId="1572711487" sldId="269"/>
            <ac:spMk id="5" creationId="{92476AA7-9532-AF5C-78C2-7BA47F0F04E9}"/>
          </ac:spMkLst>
        </pc:spChg>
        <pc:spChg chg="del">
          <ac:chgData name="HOLDSWORTH, Izabela (NHS ENGLAND)" userId="c22b7b74-04e3-4b4c-a77a-6bbce117539e" providerId="ADAL" clId="{0A2AB69B-F97C-4C94-9ABF-F6157FA215A1}" dt="2025-10-01T11:59:36.739" v="1093" actId="478"/>
          <ac:spMkLst>
            <pc:docMk/>
            <pc:sldMk cId="1572711487" sldId="269"/>
            <ac:spMk id="6" creationId="{4D06158C-5661-172E-025A-8A42AA31417A}"/>
          </ac:spMkLst>
        </pc:spChg>
        <pc:spChg chg="add mod">
          <ac:chgData name="HOLDSWORTH, Izabela (NHS ENGLAND)" userId="c22b7b74-04e3-4b4c-a77a-6bbce117539e" providerId="ADAL" clId="{0A2AB69B-F97C-4C94-9ABF-F6157FA215A1}" dt="2025-10-01T12:23:49.845" v="1368" actId="1076"/>
          <ac:spMkLst>
            <pc:docMk/>
            <pc:sldMk cId="1572711487" sldId="269"/>
            <ac:spMk id="7" creationId="{49037AFA-1983-7DF7-8C78-0CCA63714037}"/>
          </ac:spMkLst>
        </pc:spChg>
        <pc:spChg chg="add mod ord">
          <ac:chgData name="HOLDSWORTH, Izabela (NHS ENGLAND)" userId="c22b7b74-04e3-4b4c-a77a-6bbce117539e" providerId="ADAL" clId="{0A2AB69B-F97C-4C94-9ABF-F6157FA215A1}" dt="2025-10-01T12:00:35.756" v="1104" actId="207"/>
          <ac:spMkLst>
            <pc:docMk/>
            <pc:sldMk cId="1572711487" sldId="269"/>
            <ac:spMk id="8" creationId="{DBD873EA-37A6-1C30-4695-D86F68634725}"/>
          </ac:spMkLst>
        </pc:spChg>
        <pc:spChg chg="mod">
          <ac:chgData name="HOLDSWORTH, Izabela (NHS ENGLAND)" userId="c22b7b74-04e3-4b4c-a77a-6bbce117539e" providerId="ADAL" clId="{0A2AB69B-F97C-4C94-9ABF-F6157FA215A1}" dt="2025-10-01T12:02:07.528" v="1115" actId="20577"/>
          <ac:spMkLst>
            <pc:docMk/>
            <pc:sldMk cId="1572711487" sldId="269"/>
            <ac:spMk id="9" creationId="{2F98A587-D301-1AD8-DFFF-49AA1720DA9E}"/>
          </ac:spMkLst>
        </pc:spChg>
        <pc:spChg chg="add mod">
          <ac:chgData name="HOLDSWORTH, Izabela (NHS ENGLAND)" userId="c22b7b74-04e3-4b4c-a77a-6bbce117539e" providerId="ADAL" clId="{0A2AB69B-F97C-4C94-9ABF-F6157FA215A1}" dt="2025-10-01T12:21:28.212" v="1354" actId="2711"/>
          <ac:spMkLst>
            <pc:docMk/>
            <pc:sldMk cId="1572711487" sldId="269"/>
            <ac:spMk id="10" creationId="{5DC975C4-F484-0A96-7321-0C78E28B2C75}"/>
          </ac:spMkLst>
        </pc:spChg>
        <pc:spChg chg="add 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11" creationId="{943037E8-E0AB-5991-7106-0F49004F11A5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13" creationId="{06C5BBE9-17BF-B139-00C9-0ED8A881281F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15" creationId="{7F48A9FC-BE8A-C4A1-E5D3-CEBE0BF95A08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16" creationId="{DF36DD5E-0CAA-FE1F-2895-0D241BAD834B}"/>
          </ac:spMkLst>
        </pc:spChg>
        <pc:spChg chg="mod">
          <ac:chgData name="HOLDSWORTH, Izabela (NHS ENGLAND)" userId="c22b7b74-04e3-4b4c-a77a-6bbce117539e" providerId="ADAL" clId="{0A2AB69B-F97C-4C94-9ABF-F6157FA215A1}" dt="2025-10-01T12:02:22.660" v="1117" actId="207"/>
          <ac:spMkLst>
            <pc:docMk/>
            <pc:sldMk cId="1572711487" sldId="269"/>
            <ac:spMk id="17" creationId="{2F3C3A7F-B410-F7EA-1C1C-2026E21A8856}"/>
          </ac:spMkLst>
        </pc:spChg>
        <pc:spChg chg="mod">
          <ac:chgData name="HOLDSWORTH, Izabela (NHS ENGLAND)" userId="c22b7b74-04e3-4b4c-a77a-6bbce117539e" providerId="ADAL" clId="{0A2AB69B-F97C-4C94-9ABF-F6157FA215A1}" dt="2025-10-01T12:21:36.799" v="1355" actId="2711"/>
          <ac:spMkLst>
            <pc:docMk/>
            <pc:sldMk cId="1572711487" sldId="269"/>
            <ac:spMk id="24" creationId="{7C8B4795-E807-13F4-E490-033BF4346D5E}"/>
          </ac:spMkLst>
        </pc:spChg>
        <pc:spChg chg="mod">
          <ac:chgData name="HOLDSWORTH, Izabela (NHS ENGLAND)" userId="c22b7b74-04e3-4b4c-a77a-6bbce117539e" providerId="ADAL" clId="{0A2AB69B-F97C-4C94-9ABF-F6157FA215A1}" dt="2025-10-01T12:21:41.525" v="1356" actId="2711"/>
          <ac:spMkLst>
            <pc:docMk/>
            <pc:sldMk cId="1572711487" sldId="269"/>
            <ac:spMk id="25" creationId="{D76B93E3-6934-7840-08FE-882D58A85C4A}"/>
          </ac:spMkLst>
        </pc:spChg>
        <pc:spChg chg="del">
          <ac:chgData name="HOLDSWORTH, Izabela (NHS ENGLAND)" userId="c22b7b74-04e3-4b4c-a77a-6bbce117539e" providerId="ADAL" clId="{0A2AB69B-F97C-4C94-9ABF-F6157FA215A1}" dt="2025-10-01T12:04:35.296" v="1138" actId="478"/>
          <ac:spMkLst>
            <pc:docMk/>
            <pc:sldMk cId="1572711487" sldId="269"/>
            <ac:spMk id="26" creationId="{65FED7F7-B2B5-DD97-40C1-39BFD7D9395B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34" creationId="{1889E4BC-51FC-B86B-B5B5-B07BA0ACAA84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35" creationId="{1216684E-0480-EB13-41A5-AA9836E418C6}"/>
          </ac:spMkLst>
        </pc:spChg>
        <pc:spChg chg="mod">
          <ac:chgData name="HOLDSWORTH, Izabela (NHS ENGLAND)" userId="c22b7b74-04e3-4b4c-a77a-6bbce117539e" providerId="ADAL" clId="{0A2AB69B-F97C-4C94-9ABF-F6157FA215A1}" dt="2025-10-01T12:00:48.308" v="1105"/>
          <ac:spMkLst>
            <pc:docMk/>
            <pc:sldMk cId="1572711487" sldId="269"/>
            <ac:spMk id="38" creationId="{8A270AA7-B4BB-400A-B86C-11C1DF3A3BF6}"/>
          </ac:spMkLst>
        </pc:spChg>
        <pc:spChg chg="mod">
          <ac:chgData name="HOLDSWORTH, Izabela (NHS ENGLAND)" userId="c22b7b74-04e3-4b4c-a77a-6bbce117539e" providerId="ADAL" clId="{0A2AB69B-F97C-4C94-9ABF-F6157FA215A1}" dt="2025-10-01T12:20:53.348" v="1349" actId="478"/>
          <ac:spMkLst>
            <pc:docMk/>
            <pc:sldMk cId="1572711487" sldId="269"/>
            <ac:spMk id="41" creationId="{DDF9AC15-8E37-61A7-99CB-85ACDC5C4D05}"/>
          </ac:spMkLst>
        </pc:spChg>
        <pc:spChg chg="del">
          <ac:chgData name="HOLDSWORTH, Izabela (NHS ENGLAND)" userId="c22b7b74-04e3-4b4c-a77a-6bbce117539e" providerId="ADAL" clId="{0A2AB69B-F97C-4C94-9ABF-F6157FA215A1}" dt="2025-10-01T12:20:50.144" v="1348" actId="478"/>
          <ac:spMkLst>
            <pc:docMk/>
            <pc:sldMk cId="1572711487" sldId="269"/>
            <ac:spMk id="42" creationId="{CC7CB280-86D8-533D-FF83-AC4B0BD19B68}"/>
          </ac:spMkLst>
        </pc:spChg>
        <pc:spChg chg="del mod">
          <ac:chgData name="HOLDSWORTH, Izabela (NHS ENGLAND)" userId="c22b7b74-04e3-4b4c-a77a-6bbce117539e" providerId="ADAL" clId="{0A2AB69B-F97C-4C94-9ABF-F6157FA215A1}" dt="2025-10-01T12:20:53.348" v="1349" actId="478"/>
          <ac:spMkLst>
            <pc:docMk/>
            <pc:sldMk cId="1572711487" sldId="269"/>
            <ac:spMk id="43" creationId="{9D922B7A-69D6-8942-E7D4-A1B1607E1C09}"/>
          </ac:spMkLst>
        </pc:spChg>
        <pc:spChg chg="add mod">
          <ac:chgData name="HOLDSWORTH, Izabela (NHS ENGLAND)" userId="c22b7b74-04e3-4b4c-a77a-6bbce117539e" providerId="ADAL" clId="{0A2AB69B-F97C-4C94-9ABF-F6157FA215A1}" dt="2025-10-01T12:19:40.458" v="1334" actId="1076"/>
          <ac:spMkLst>
            <pc:docMk/>
            <pc:sldMk cId="1572711487" sldId="269"/>
            <ac:spMk id="44" creationId="{FFCF13AB-81B3-6B52-BC36-9C01A27F9029}"/>
          </ac:spMkLst>
        </pc:spChg>
        <pc:spChg chg="add del mod">
          <ac:chgData name="HOLDSWORTH, Izabela (NHS ENGLAND)" userId="c22b7b74-04e3-4b4c-a77a-6bbce117539e" providerId="ADAL" clId="{0A2AB69B-F97C-4C94-9ABF-F6157FA215A1}" dt="2025-10-01T16:54:12.425" v="3771" actId="478"/>
          <ac:spMkLst>
            <pc:docMk/>
            <pc:sldMk cId="1572711487" sldId="269"/>
            <ac:spMk id="45" creationId="{7721E39C-8D78-4AA6-248E-FDCA35A3501E}"/>
          </ac:spMkLst>
        </pc:spChg>
        <pc:spChg chg="add del mod">
          <ac:chgData name="HOLDSWORTH, Izabela (NHS ENGLAND)" userId="c22b7b74-04e3-4b4c-a77a-6bbce117539e" providerId="ADAL" clId="{0A2AB69B-F97C-4C94-9ABF-F6157FA215A1}" dt="2025-10-01T16:53:47.505" v="3766" actId="478"/>
          <ac:spMkLst>
            <pc:docMk/>
            <pc:sldMk cId="1572711487" sldId="269"/>
            <ac:spMk id="46" creationId="{EDEC4154-780D-66D6-E327-57E340CB604A}"/>
          </ac:spMkLst>
        </pc:spChg>
        <pc:spChg chg="add del mod">
          <ac:chgData name="HOLDSWORTH, Izabela (NHS ENGLAND)" userId="c22b7b74-04e3-4b4c-a77a-6bbce117539e" providerId="ADAL" clId="{0A2AB69B-F97C-4C94-9ABF-F6157FA215A1}" dt="2025-10-01T12:09:06.786" v="1191" actId="478"/>
          <ac:spMkLst>
            <pc:docMk/>
            <pc:sldMk cId="1572711487" sldId="269"/>
            <ac:spMk id="47" creationId="{955412A4-3D90-5E1D-C1E1-40E41E1A6F54}"/>
          </ac:spMkLst>
        </pc:spChg>
        <pc:spChg chg="add mod">
          <ac:chgData name="HOLDSWORTH, Izabela (NHS ENGLAND)" userId="c22b7b74-04e3-4b4c-a77a-6bbce117539e" providerId="ADAL" clId="{0A2AB69B-F97C-4C94-9ABF-F6157FA215A1}" dt="2025-10-01T15:50:13.484" v="3346" actId="6549"/>
          <ac:spMkLst>
            <pc:docMk/>
            <pc:sldMk cId="1572711487" sldId="269"/>
            <ac:spMk id="48" creationId="{BBC3C8D8-AD23-7072-ABE1-98F6D0A94CEB}"/>
          </ac:spMkLst>
        </pc:spChg>
        <pc:spChg chg="add mod">
          <ac:chgData name="HOLDSWORTH, Izabela (NHS ENGLAND)" userId="c22b7b74-04e3-4b4c-a77a-6bbce117539e" providerId="ADAL" clId="{0A2AB69B-F97C-4C94-9ABF-F6157FA215A1}" dt="2025-10-01T12:10:22.533" v="1243" actId="1076"/>
          <ac:spMkLst>
            <pc:docMk/>
            <pc:sldMk cId="1572711487" sldId="269"/>
            <ac:spMk id="49" creationId="{E437E7E2-B66C-1058-E858-784F44055723}"/>
          </ac:spMkLst>
        </pc:spChg>
        <pc:spChg chg="add del mod">
          <ac:chgData name="HOLDSWORTH, Izabela (NHS ENGLAND)" userId="c22b7b74-04e3-4b4c-a77a-6bbce117539e" providerId="ADAL" clId="{0A2AB69B-F97C-4C94-9ABF-F6157FA215A1}" dt="2025-10-01T12:11:01.479" v="1248" actId="478"/>
          <ac:spMkLst>
            <pc:docMk/>
            <pc:sldMk cId="1572711487" sldId="269"/>
            <ac:spMk id="50" creationId="{CBF7A187-2BF2-DAA5-E006-44E92E812665}"/>
          </ac:spMkLst>
        </pc:spChg>
        <pc:grpChg chg="del">
          <ac:chgData name="HOLDSWORTH, Izabela (NHS ENGLAND)" userId="c22b7b74-04e3-4b4c-a77a-6bbce117539e" providerId="ADAL" clId="{0A2AB69B-F97C-4C94-9ABF-F6157FA215A1}" dt="2025-10-01T12:04:46.268" v="1141" actId="478"/>
          <ac:grpSpMkLst>
            <pc:docMk/>
            <pc:sldMk cId="1572711487" sldId="269"/>
            <ac:grpSpMk id="27" creationId="{042F05FA-9C75-AD93-13D0-F29E959D0743}"/>
          </ac:grpSpMkLst>
        </pc:grpChg>
        <pc:grpChg chg="del">
          <ac:chgData name="HOLDSWORTH, Izabela (NHS ENGLAND)" userId="c22b7b74-04e3-4b4c-a77a-6bbce117539e" providerId="ADAL" clId="{0A2AB69B-F97C-4C94-9ABF-F6157FA215A1}" dt="2025-10-01T12:04:26.873" v="1136" actId="478"/>
          <ac:grpSpMkLst>
            <pc:docMk/>
            <pc:sldMk cId="1572711487" sldId="269"/>
            <ac:grpSpMk id="33" creationId="{C8A989E1-42EF-51EE-288B-A1C61BA1A26A}"/>
          </ac:grpSpMkLst>
        </pc:grpChg>
        <pc:grpChg chg="del">
          <ac:chgData name="HOLDSWORTH, Izabela (NHS ENGLAND)" userId="c22b7b74-04e3-4b4c-a77a-6bbce117539e" providerId="ADAL" clId="{0A2AB69B-F97C-4C94-9ABF-F6157FA215A1}" dt="2025-10-01T12:04:24.500" v="1135" actId="478"/>
          <ac:grpSpMkLst>
            <pc:docMk/>
            <pc:sldMk cId="1572711487" sldId="269"/>
            <ac:grpSpMk id="36" creationId="{27D5C426-762A-4E88-5717-4219B1DF3E00}"/>
          </ac:grpSpMkLst>
        </pc:grpChg>
        <pc:grpChg chg="del mod">
          <ac:chgData name="HOLDSWORTH, Izabela (NHS ENGLAND)" userId="c22b7b74-04e3-4b4c-a77a-6bbce117539e" providerId="ADAL" clId="{0A2AB69B-F97C-4C94-9ABF-F6157FA215A1}" dt="2025-10-01T12:20:53.348" v="1349" actId="478"/>
          <ac:grpSpMkLst>
            <pc:docMk/>
            <pc:sldMk cId="1572711487" sldId="269"/>
            <ac:grpSpMk id="40" creationId="{B53D02F2-9489-787C-5B0D-ABC17AF2DD8A}"/>
          </ac:grpSpMkLst>
        </pc:grpChg>
        <pc:picChg chg="add mod">
          <ac:chgData name="HOLDSWORTH, Izabela (NHS ENGLAND)" userId="c22b7b74-04e3-4b4c-a77a-6bbce117539e" providerId="ADAL" clId="{0A2AB69B-F97C-4C94-9ABF-F6157FA215A1}" dt="2025-10-01T11:01:20.685" v="119"/>
          <ac:picMkLst>
            <pc:docMk/>
            <pc:sldMk cId="1572711487" sldId="269"/>
            <ac:picMk id="3" creationId="{08CA0A88-2349-4534-87ED-2795967B28BE}"/>
          </ac:picMkLst>
        </pc:picChg>
        <pc:picChg chg="add mod">
          <ac:chgData name="HOLDSWORTH, Izabela (NHS ENGLAND)" userId="c22b7b74-04e3-4b4c-a77a-6bbce117539e" providerId="ADAL" clId="{0A2AB69B-F97C-4C94-9ABF-F6157FA215A1}" dt="2025-10-01T12:20:41.058" v="1347"/>
          <ac:picMkLst>
            <pc:docMk/>
            <pc:sldMk cId="1572711487" sldId="269"/>
            <ac:picMk id="51" creationId="{4A51C95C-5FEC-488B-BAFD-31709E417213}"/>
          </ac:picMkLst>
        </pc:picChg>
        <pc:picChg chg="add mod">
          <ac:chgData name="HOLDSWORTH, Izabela (NHS ENGLAND)" userId="c22b7b74-04e3-4b4c-a77a-6bbce117539e" providerId="ADAL" clId="{0A2AB69B-F97C-4C94-9ABF-F6157FA215A1}" dt="2025-10-01T12:23:56.246" v="1369" actId="1076"/>
          <ac:picMkLst>
            <pc:docMk/>
            <pc:sldMk cId="1572711487" sldId="269"/>
            <ac:picMk id="53" creationId="{AA5162AC-982B-7683-9C6A-7C30D36E0253}"/>
          </ac:picMkLst>
        </pc:picChg>
      </pc:sldChg>
      <pc:sldChg chg="addSp modSp del">
        <pc:chgData name="HOLDSWORTH, Izabela (NHS ENGLAND)" userId="c22b7b74-04e3-4b4c-a77a-6bbce117539e" providerId="ADAL" clId="{0A2AB69B-F97C-4C94-9ABF-F6157FA215A1}" dt="2025-10-01T12:39:37.443" v="1635" actId="47"/>
        <pc:sldMkLst>
          <pc:docMk/>
          <pc:sldMk cId="3747794724" sldId="270"/>
        </pc:sldMkLst>
        <pc:picChg chg="add mod">
          <ac:chgData name="HOLDSWORTH, Izabela (NHS ENGLAND)" userId="c22b7b74-04e3-4b4c-a77a-6bbce117539e" providerId="ADAL" clId="{0A2AB69B-F97C-4C94-9ABF-F6157FA215A1}" dt="2025-10-01T11:01:23.028" v="120"/>
          <ac:picMkLst>
            <pc:docMk/>
            <pc:sldMk cId="3747794724" sldId="270"/>
            <ac:picMk id="3" creationId="{3EF92D3E-90C4-19C5-C8AA-4F9436AB7862}"/>
          </ac:picMkLst>
        </pc:picChg>
      </pc:sldChg>
      <pc:sldChg chg="add del">
        <pc:chgData name="HOLDSWORTH, Izabela (NHS ENGLAND)" userId="c22b7b74-04e3-4b4c-a77a-6bbce117539e" providerId="ADAL" clId="{0A2AB69B-F97C-4C94-9ABF-F6157FA215A1}" dt="2025-10-01T11:00:30.182" v="108"/>
        <pc:sldMkLst>
          <pc:docMk/>
          <pc:sldMk cId="581620295" sldId="271"/>
        </pc:sldMkLst>
      </pc:sldChg>
      <pc:sldChg chg="addSp delSp modSp add mod">
        <pc:chgData name="HOLDSWORTH, Izabela (NHS ENGLAND)" userId="c22b7b74-04e3-4b4c-a77a-6bbce117539e" providerId="ADAL" clId="{0A2AB69B-F97C-4C94-9ABF-F6157FA215A1}" dt="2025-10-01T16:57:11.633" v="3780" actId="1076"/>
        <pc:sldMkLst>
          <pc:docMk/>
          <pc:sldMk cId="2056666201" sldId="271"/>
        </pc:sldMkLst>
        <pc:spChg chg="mod">
          <ac:chgData name="HOLDSWORTH, Izabela (NHS ENGLAND)" userId="c22b7b74-04e3-4b4c-a77a-6bbce117539e" providerId="ADAL" clId="{0A2AB69B-F97C-4C94-9ABF-F6157FA215A1}" dt="2025-10-01T12:14:56.254" v="1299" actId="20577"/>
          <ac:spMkLst>
            <pc:docMk/>
            <pc:sldMk cId="2056666201" sldId="271"/>
            <ac:spMk id="2" creationId="{21382FAA-A410-243F-A1C2-4B9C9D3060E1}"/>
          </ac:spMkLst>
        </pc:spChg>
        <pc:spChg chg="add mod">
          <ac:chgData name="HOLDSWORTH, Izabela (NHS ENGLAND)" userId="c22b7b74-04e3-4b4c-a77a-6bbce117539e" providerId="ADAL" clId="{0A2AB69B-F97C-4C94-9ABF-F6157FA215A1}" dt="2025-10-01T16:57:08.215" v="3779" actId="1076"/>
          <ac:spMkLst>
            <pc:docMk/>
            <pc:sldMk cId="2056666201" sldId="271"/>
            <ac:spMk id="4" creationId="{56B96FF1-3B41-EEB9-B269-4759F5019CE0}"/>
          </ac:spMkLst>
        </pc:spChg>
        <pc:spChg chg="add mod">
          <ac:chgData name="HOLDSWORTH, Izabela (NHS ENGLAND)" userId="c22b7b74-04e3-4b4c-a77a-6bbce117539e" providerId="ADAL" clId="{0A2AB69B-F97C-4C94-9ABF-F6157FA215A1}" dt="2025-10-01T16:57:11.633" v="3780" actId="1076"/>
          <ac:spMkLst>
            <pc:docMk/>
            <pc:sldMk cId="2056666201" sldId="271"/>
            <ac:spMk id="6" creationId="{33B75FA8-025F-0EDC-24C7-B0C8890C864A}"/>
          </ac:spMkLst>
        </pc:spChg>
        <pc:spChg chg="mod">
          <ac:chgData name="HOLDSWORTH, Izabela (NHS ENGLAND)" userId="c22b7b74-04e3-4b4c-a77a-6bbce117539e" providerId="ADAL" clId="{0A2AB69B-F97C-4C94-9ABF-F6157FA215A1}" dt="2025-10-01T12:13:30.700" v="1277" actId="207"/>
          <ac:spMkLst>
            <pc:docMk/>
            <pc:sldMk cId="2056666201" sldId="271"/>
            <ac:spMk id="10" creationId="{C9058D91-E79E-F2E8-1F67-DD708BC24B2B}"/>
          </ac:spMkLst>
        </pc:spChg>
        <pc:spChg chg="add del mod">
          <ac:chgData name="HOLDSWORTH, Izabela (NHS ENGLAND)" userId="c22b7b74-04e3-4b4c-a77a-6bbce117539e" providerId="ADAL" clId="{0A2AB69B-F97C-4C94-9ABF-F6157FA215A1}" dt="2025-10-01T14:24:54.025" v="2500" actId="478"/>
          <ac:spMkLst>
            <pc:docMk/>
            <pc:sldMk cId="2056666201" sldId="271"/>
            <ac:spMk id="12" creationId="{94BFE0E9-23CE-8FD6-B73A-DED562DDDDD1}"/>
          </ac:spMkLst>
        </pc:spChg>
        <pc:spChg chg="mod">
          <ac:chgData name="HOLDSWORTH, Izabela (NHS ENGLAND)" userId="c22b7b74-04e3-4b4c-a77a-6bbce117539e" providerId="ADAL" clId="{0A2AB69B-F97C-4C94-9ABF-F6157FA215A1}" dt="2025-10-01T12:17:18.639" v="1312" actId="478"/>
          <ac:spMkLst>
            <pc:docMk/>
            <pc:sldMk cId="2056666201" sldId="271"/>
            <ac:spMk id="13" creationId="{C6B1FF34-E45B-D4C6-9E4A-5F802A1DF190}"/>
          </ac:spMkLst>
        </pc:spChg>
        <pc:spChg chg="del">
          <ac:chgData name="HOLDSWORTH, Izabela (NHS ENGLAND)" userId="c22b7b74-04e3-4b4c-a77a-6bbce117539e" providerId="ADAL" clId="{0A2AB69B-F97C-4C94-9ABF-F6157FA215A1}" dt="2025-10-01T12:17:09.006" v="1310" actId="478"/>
          <ac:spMkLst>
            <pc:docMk/>
            <pc:sldMk cId="2056666201" sldId="271"/>
            <ac:spMk id="15" creationId="{E1A5AB84-F141-250C-CA95-E685CF16EB55}"/>
          </ac:spMkLst>
        </pc:spChg>
        <pc:spChg chg="del mod">
          <ac:chgData name="HOLDSWORTH, Izabela (NHS ENGLAND)" userId="c22b7b74-04e3-4b4c-a77a-6bbce117539e" providerId="ADAL" clId="{0A2AB69B-F97C-4C94-9ABF-F6157FA215A1}" dt="2025-10-01T12:17:18.639" v="1312" actId="478"/>
          <ac:spMkLst>
            <pc:docMk/>
            <pc:sldMk cId="2056666201" sldId="271"/>
            <ac:spMk id="16" creationId="{4F583104-B449-CDF2-04EE-0EE83AF91CCB}"/>
          </ac:spMkLst>
        </pc:spChg>
        <pc:spChg chg="mod">
          <ac:chgData name="HOLDSWORTH, Izabela (NHS ENGLAND)" userId="c22b7b74-04e3-4b4c-a77a-6bbce117539e" providerId="ADAL" clId="{0A2AB69B-F97C-4C94-9ABF-F6157FA215A1}" dt="2025-10-01T12:13:46.671" v="1280" actId="2711"/>
          <ac:spMkLst>
            <pc:docMk/>
            <pc:sldMk cId="2056666201" sldId="271"/>
            <ac:spMk id="17" creationId="{5BB30373-9DF9-3E28-B79E-8C5065A5946D}"/>
          </ac:spMkLst>
        </pc:spChg>
        <pc:spChg chg="mod">
          <ac:chgData name="HOLDSWORTH, Izabela (NHS ENGLAND)" userId="c22b7b74-04e3-4b4c-a77a-6bbce117539e" providerId="ADAL" clId="{0A2AB69B-F97C-4C94-9ABF-F6157FA215A1}" dt="2025-10-01T12:18:53.641" v="1323" actId="478"/>
          <ac:spMkLst>
            <pc:docMk/>
            <pc:sldMk cId="2056666201" sldId="271"/>
            <ac:spMk id="20" creationId="{D2A54B1C-C98A-DE7D-F7C7-6A01ADC73676}"/>
          </ac:spMkLst>
        </pc:spChg>
        <pc:spChg chg="del">
          <ac:chgData name="HOLDSWORTH, Izabela (NHS ENGLAND)" userId="c22b7b74-04e3-4b4c-a77a-6bbce117539e" providerId="ADAL" clId="{0A2AB69B-F97C-4C94-9ABF-F6157FA215A1}" dt="2025-10-01T12:18:52.414" v="1322" actId="478"/>
          <ac:spMkLst>
            <pc:docMk/>
            <pc:sldMk cId="2056666201" sldId="271"/>
            <ac:spMk id="22" creationId="{2AB8D69E-D36A-F2F4-7D8C-6BA349B12B29}"/>
          </ac:spMkLst>
        </pc:spChg>
        <pc:spChg chg="del mod">
          <ac:chgData name="HOLDSWORTH, Izabela (NHS ENGLAND)" userId="c22b7b74-04e3-4b4c-a77a-6bbce117539e" providerId="ADAL" clId="{0A2AB69B-F97C-4C94-9ABF-F6157FA215A1}" dt="2025-10-01T12:18:53.641" v="1323" actId="478"/>
          <ac:spMkLst>
            <pc:docMk/>
            <pc:sldMk cId="2056666201" sldId="271"/>
            <ac:spMk id="23" creationId="{0F691C2D-93F1-3844-0843-4E97D1DC0787}"/>
          </ac:spMkLst>
        </pc:spChg>
        <pc:spChg chg="mod">
          <ac:chgData name="HOLDSWORTH, Izabela (NHS ENGLAND)" userId="c22b7b74-04e3-4b4c-a77a-6bbce117539e" providerId="ADAL" clId="{0A2AB69B-F97C-4C94-9ABF-F6157FA215A1}" dt="2025-10-01T12:14:03.276" v="1283" actId="207"/>
          <ac:spMkLst>
            <pc:docMk/>
            <pc:sldMk cId="2056666201" sldId="271"/>
            <ac:spMk id="24" creationId="{14D03401-0A90-37CC-B0B9-5181A3E26AF0}"/>
          </ac:spMkLst>
        </pc:spChg>
        <pc:spChg chg="mod">
          <ac:chgData name="HOLDSWORTH, Izabela (NHS ENGLAND)" userId="c22b7b74-04e3-4b4c-a77a-6bbce117539e" providerId="ADAL" clId="{0A2AB69B-F97C-4C94-9ABF-F6157FA215A1}" dt="2025-10-01T12:14:14.900" v="1285" actId="207"/>
          <ac:spMkLst>
            <pc:docMk/>
            <pc:sldMk cId="2056666201" sldId="271"/>
            <ac:spMk id="25" creationId="{2F07B492-86D4-0BA1-79BE-94F079573C94}"/>
          </ac:spMkLst>
        </pc:spChg>
        <pc:spChg chg="mod">
          <ac:chgData name="HOLDSWORTH, Izabela (NHS ENGLAND)" userId="c22b7b74-04e3-4b4c-a77a-6bbce117539e" providerId="ADAL" clId="{0A2AB69B-F97C-4C94-9ABF-F6157FA215A1}" dt="2025-10-01T12:19:16.910" v="1329" actId="478"/>
          <ac:spMkLst>
            <pc:docMk/>
            <pc:sldMk cId="2056666201" sldId="271"/>
            <ac:spMk id="41" creationId="{343EE81C-4A48-D840-E1B8-862A59DB5BBD}"/>
          </ac:spMkLst>
        </pc:spChg>
        <pc:spChg chg="del mod">
          <ac:chgData name="HOLDSWORTH, Izabela (NHS ENGLAND)" userId="c22b7b74-04e3-4b4c-a77a-6bbce117539e" providerId="ADAL" clId="{0A2AB69B-F97C-4C94-9ABF-F6157FA215A1}" dt="2025-10-01T12:19:16.910" v="1329" actId="478"/>
          <ac:spMkLst>
            <pc:docMk/>
            <pc:sldMk cId="2056666201" sldId="271"/>
            <ac:spMk id="42" creationId="{508ECF4C-FA10-0F66-A068-7D5F71209FBF}"/>
          </ac:spMkLst>
        </pc:spChg>
        <pc:spChg chg="del">
          <ac:chgData name="HOLDSWORTH, Izabela (NHS ENGLAND)" userId="c22b7b74-04e3-4b4c-a77a-6bbce117539e" providerId="ADAL" clId="{0A2AB69B-F97C-4C94-9ABF-F6157FA215A1}" dt="2025-10-01T12:19:13.956" v="1328" actId="478"/>
          <ac:spMkLst>
            <pc:docMk/>
            <pc:sldMk cId="2056666201" sldId="271"/>
            <ac:spMk id="43" creationId="{9EE1EA98-C060-0F19-1FA8-B48C3B91B449}"/>
          </ac:spMkLst>
        </pc:spChg>
        <pc:spChg chg="mod">
          <ac:chgData name="HOLDSWORTH, Izabela (NHS ENGLAND)" userId="c22b7b74-04e3-4b4c-a77a-6bbce117539e" providerId="ADAL" clId="{0A2AB69B-F97C-4C94-9ABF-F6157FA215A1}" dt="2025-10-01T12:19:47.023" v="1335" actId="1076"/>
          <ac:spMkLst>
            <pc:docMk/>
            <pc:sldMk cId="2056666201" sldId="271"/>
            <ac:spMk id="44" creationId="{4EA85E1F-1CE0-72D4-FCD6-32D67A5500D1}"/>
          </ac:spMkLst>
        </pc:spChg>
        <pc:spChg chg="del mod">
          <ac:chgData name="HOLDSWORTH, Izabela (NHS ENGLAND)" userId="c22b7b74-04e3-4b4c-a77a-6bbce117539e" providerId="ADAL" clId="{0A2AB69B-F97C-4C94-9ABF-F6157FA215A1}" dt="2025-10-01T16:56:58.559" v="3777" actId="478"/>
          <ac:spMkLst>
            <pc:docMk/>
            <pc:sldMk cId="2056666201" sldId="271"/>
            <ac:spMk id="45" creationId="{DD6BD642-A068-E06E-76C7-C212E55BC17B}"/>
          </ac:spMkLst>
        </pc:spChg>
        <pc:spChg chg="del mod">
          <ac:chgData name="HOLDSWORTH, Izabela (NHS ENGLAND)" userId="c22b7b74-04e3-4b4c-a77a-6bbce117539e" providerId="ADAL" clId="{0A2AB69B-F97C-4C94-9ABF-F6157FA215A1}" dt="2025-10-01T16:57:00.715" v="3778" actId="478"/>
          <ac:spMkLst>
            <pc:docMk/>
            <pc:sldMk cId="2056666201" sldId="271"/>
            <ac:spMk id="46" creationId="{12C300F0-9866-CE71-6822-35CB15547764}"/>
          </ac:spMkLst>
        </pc:spChg>
        <pc:spChg chg="mod">
          <ac:chgData name="HOLDSWORTH, Izabela (NHS ENGLAND)" userId="c22b7b74-04e3-4b4c-a77a-6bbce117539e" providerId="ADAL" clId="{0A2AB69B-F97C-4C94-9ABF-F6157FA215A1}" dt="2025-10-01T12:38:37.448" v="1630" actId="14100"/>
          <ac:spMkLst>
            <pc:docMk/>
            <pc:sldMk cId="2056666201" sldId="271"/>
            <ac:spMk id="48" creationId="{BB5CCD80-B1F8-F4BD-5775-B661A21DBBDF}"/>
          </ac:spMkLst>
        </pc:spChg>
        <pc:grpChg chg="del mod">
          <ac:chgData name="HOLDSWORTH, Izabela (NHS ENGLAND)" userId="c22b7b74-04e3-4b4c-a77a-6bbce117539e" providerId="ADAL" clId="{0A2AB69B-F97C-4C94-9ABF-F6157FA215A1}" dt="2025-10-01T12:17:18.639" v="1312" actId="478"/>
          <ac:grpSpMkLst>
            <pc:docMk/>
            <pc:sldMk cId="2056666201" sldId="271"/>
            <ac:grpSpMk id="12" creationId="{9B4C6B27-E61C-A57C-95B6-433787BBCAA4}"/>
          </ac:grpSpMkLst>
        </pc:grpChg>
        <pc:grpChg chg="del mod">
          <ac:chgData name="HOLDSWORTH, Izabela (NHS ENGLAND)" userId="c22b7b74-04e3-4b4c-a77a-6bbce117539e" providerId="ADAL" clId="{0A2AB69B-F97C-4C94-9ABF-F6157FA215A1}" dt="2025-10-01T12:17:09.006" v="1310" actId="478"/>
          <ac:grpSpMkLst>
            <pc:docMk/>
            <pc:sldMk cId="2056666201" sldId="271"/>
            <ac:grpSpMk id="14" creationId="{6329C404-EE2A-910B-C8C7-A5BE84533674}"/>
          </ac:grpSpMkLst>
        </pc:grpChg>
        <pc:grpChg chg="del mod">
          <ac:chgData name="HOLDSWORTH, Izabela (NHS ENGLAND)" userId="c22b7b74-04e3-4b4c-a77a-6bbce117539e" providerId="ADAL" clId="{0A2AB69B-F97C-4C94-9ABF-F6157FA215A1}" dt="2025-10-01T12:18:53.641" v="1323" actId="478"/>
          <ac:grpSpMkLst>
            <pc:docMk/>
            <pc:sldMk cId="2056666201" sldId="271"/>
            <ac:grpSpMk id="19" creationId="{7628DB43-AEAB-BD8B-29CB-ABFF6071A54F}"/>
          </ac:grpSpMkLst>
        </pc:grpChg>
        <pc:grpChg chg="del mod">
          <ac:chgData name="HOLDSWORTH, Izabela (NHS ENGLAND)" userId="c22b7b74-04e3-4b4c-a77a-6bbce117539e" providerId="ADAL" clId="{0A2AB69B-F97C-4C94-9ABF-F6157FA215A1}" dt="2025-10-01T12:18:52.414" v="1322" actId="478"/>
          <ac:grpSpMkLst>
            <pc:docMk/>
            <pc:sldMk cId="2056666201" sldId="271"/>
            <ac:grpSpMk id="21" creationId="{ED8F0ED4-C589-BD7C-7FDF-8C218762E722}"/>
          </ac:grpSpMkLst>
        </pc:grpChg>
        <pc:grpChg chg="del mod">
          <ac:chgData name="HOLDSWORTH, Izabela (NHS ENGLAND)" userId="c22b7b74-04e3-4b4c-a77a-6bbce117539e" providerId="ADAL" clId="{0A2AB69B-F97C-4C94-9ABF-F6157FA215A1}" dt="2025-10-01T12:19:16.910" v="1329" actId="478"/>
          <ac:grpSpMkLst>
            <pc:docMk/>
            <pc:sldMk cId="2056666201" sldId="271"/>
            <ac:grpSpMk id="40" creationId="{8829F9DC-C009-D663-187E-70BB4C717E32}"/>
          </ac:grpSpMkLst>
        </pc:grpChg>
        <pc:picChg chg="add mod">
          <ac:chgData name="HOLDSWORTH, Izabela (NHS ENGLAND)" userId="c22b7b74-04e3-4b4c-a77a-6bbce117539e" providerId="ADAL" clId="{0A2AB69B-F97C-4C94-9ABF-F6157FA215A1}" dt="2025-10-01T12:20:10.346" v="1343" actId="14100"/>
          <ac:picMkLst>
            <pc:docMk/>
            <pc:sldMk cId="2056666201" sldId="271"/>
            <ac:picMk id="5" creationId="{1B05906C-498A-6134-32B8-B35182463391}"/>
          </ac:picMkLst>
        </pc:picChg>
        <pc:picChg chg="add mod">
          <ac:chgData name="HOLDSWORTH, Izabela (NHS ENGLAND)" userId="c22b7b74-04e3-4b4c-a77a-6bbce117539e" providerId="ADAL" clId="{0A2AB69B-F97C-4C94-9ABF-F6157FA215A1}" dt="2025-10-01T12:20:18.142" v="1346" actId="1076"/>
          <ac:picMkLst>
            <pc:docMk/>
            <pc:sldMk cId="2056666201" sldId="271"/>
            <ac:picMk id="26" creationId="{756739F5-98B1-A8D8-7430-3E0FB604595A}"/>
          </ac:picMkLst>
        </pc:picChg>
        <pc:picChg chg="add mod">
          <ac:chgData name="HOLDSWORTH, Izabela (NHS ENGLAND)" userId="c22b7b74-04e3-4b4c-a77a-6bbce117539e" providerId="ADAL" clId="{0A2AB69B-F97C-4C94-9ABF-F6157FA215A1}" dt="2025-10-01T12:19:58.364" v="1338" actId="14100"/>
          <ac:picMkLst>
            <pc:docMk/>
            <pc:sldMk cId="2056666201" sldId="271"/>
            <ac:picMk id="28" creationId="{0CC665A0-6424-DBF7-6AB2-5B7D36C06EE8}"/>
          </ac:picMkLst>
        </pc:picChg>
        <pc:picChg chg="add mod">
          <ac:chgData name="HOLDSWORTH, Izabela (NHS ENGLAND)" userId="c22b7b74-04e3-4b4c-a77a-6bbce117539e" providerId="ADAL" clId="{0A2AB69B-F97C-4C94-9ABF-F6157FA215A1}" dt="2025-10-01T12:20:04.522" v="1341" actId="14100"/>
          <ac:picMkLst>
            <pc:docMk/>
            <pc:sldMk cId="2056666201" sldId="271"/>
            <ac:picMk id="30" creationId="{3201F66E-ABCB-1103-5053-91C7830BCBED}"/>
          </ac:picMkLst>
        </pc:picChg>
      </pc:sldChg>
      <pc:sldChg chg="addSp delSp modSp add mod">
        <pc:chgData name="HOLDSWORTH, Izabela (NHS ENGLAND)" userId="c22b7b74-04e3-4b4c-a77a-6bbce117539e" providerId="ADAL" clId="{0A2AB69B-F97C-4C94-9ABF-F6157FA215A1}" dt="2025-10-01T17:07:25.508" v="3858" actId="207"/>
        <pc:sldMkLst>
          <pc:docMk/>
          <pc:sldMk cId="1723635444" sldId="272"/>
        </pc:sldMkLst>
        <pc:spChg chg="mod">
          <ac:chgData name="HOLDSWORTH, Izabela (NHS ENGLAND)" userId="c22b7b74-04e3-4b4c-a77a-6bbce117539e" providerId="ADAL" clId="{0A2AB69B-F97C-4C94-9ABF-F6157FA215A1}" dt="2025-10-01T13:53:55.294" v="1823" actId="20577"/>
          <ac:spMkLst>
            <pc:docMk/>
            <pc:sldMk cId="1723635444" sldId="272"/>
            <ac:spMk id="2" creationId="{8A3F6FF4-B221-2BC4-2826-806E38D0BF81}"/>
          </ac:spMkLst>
        </pc:spChg>
        <pc:spChg chg="mod">
          <ac:chgData name="HOLDSWORTH, Izabela (NHS ENGLAND)" userId="c22b7b74-04e3-4b4c-a77a-6bbce117539e" providerId="ADAL" clId="{0A2AB69B-F97C-4C94-9ABF-F6157FA215A1}" dt="2025-10-01T16:43:49.780" v="3746" actId="20577"/>
          <ac:spMkLst>
            <pc:docMk/>
            <pc:sldMk cId="1723635444" sldId="272"/>
            <ac:spMk id="3" creationId="{0214E45E-19A5-A995-503C-945771584F8C}"/>
          </ac:spMkLst>
        </pc:spChg>
        <pc:spChg chg="mod">
          <ac:chgData name="HOLDSWORTH, Izabela (NHS ENGLAND)" userId="c22b7b74-04e3-4b4c-a77a-6bbce117539e" providerId="ADAL" clId="{0A2AB69B-F97C-4C94-9ABF-F6157FA215A1}" dt="2025-10-01T16:42:54.258" v="3732" actId="6549"/>
          <ac:spMkLst>
            <pc:docMk/>
            <pc:sldMk cId="1723635444" sldId="272"/>
            <ac:spMk id="4" creationId="{10B08330-D572-4FE6-3AA4-8C900C33CCE1}"/>
          </ac:spMkLst>
        </pc:spChg>
        <pc:spChg chg="mod">
          <ac:chgData name="HOLDSWORTH, Izabela (NHS ENGLAND)" userId="c22b7b74-04e3-4b4c-a77a-6bbce117539e" providerId="ADAL" clId="{0A2AB69B-F97C-4C94-9ABF-F6157FA215A1}" dt="2025-10-01T15:43:02.642" v="3133" actId="113"/>
          <ac:spMkLst>
            <pc:docMk/>
            <pc:sldMk cId="1723635444" sldId="272"/>
            <ac:spMk id="5" creationId="{71CA92E8-43E0-EDFE-BA18-7EAEE402FD17}"/>
          </ac:spMkLst>
        </pc:spChg>
        <pc:spChg chg="mod">
          <ac:chgData name="HOLDSWORTH, Izabela (NHS ENGLAND)" userId="c22b7b74-04e3-4b4c-a77a-6bbce117539e" providerId="ADAL" clId="{0A2AB69B-F97C-4C94-9ABF-F6157FA215A1}" dt="2025-10-01T16:42:26.310" v="3726" actId="20577"/>
          <ac:spMkLst>
            <pc:docMk/>
            <pc:sldMk cId="1723635444" sldId="272"/>
            <ac:spMk id="7" creationId="{016DD008-AB53-6CF2-AFD6-0FD85DF97338}"/>
          </ac:spMkLst>
        </pc:spChg>
        <pc:spChg chg="mod">
          <ac:chgData name="HOLDSWORTH, Izabela (NHS ENGLAND)" userId="c22b7b74-04e3-4b4c-a77a-6bbce117539e" providerId="ADAL" clId="{0A2AB69B-F97C-4C94-9ABF-F6157FA215A1}" dt="2025-10-01T16:41:33.646" v="3721" actId="20577"/>
          <ac:spMkLst>
            <pc:docMk/>
            <pc:sldMk cId="1723635444" sldId="272"/>
            <ac:spMk id="8" creationId="{9AC7C9E4-8077-8E46-52C7-0AEDBEB57D9F}"/>
          </ac:spMkLst>
        </pc:spChg>
        <pc:spChg chg="mod">
          <ac:chgData name="HOLDSWORTH, Izabela (NHS ENGLAND)" userId="c22b7b74-04e3-4b4c-a77a-6bbce117539e" providerId="ADAL" clId="{0A2AB69B-F97C-4C94-9ABF-F6157FA215A1}" dt="2025-10-01T16:43:30.177" v="3741" actId="20577"/>
          <ac:spMkLst>
            <pc:docMk/>
            <pc:sldMk cId="1723635444" sldId="272"/>
            <ac:spMk id="9" creationId="{AC8B29F7-1851-B1D5-4D11-9967CFD7CF45}"/>
          </ac:spMkLst>
        </pc:spChg>
        <pc:spChg chg="mod">
          <ac:chgData name="HOLDSWORTH, Izabela (NHS ENGLAND)" userId="c22b7b74-04e3-4b4c-a77a-6bbce117539e" providerId="ADAL" clId="{0A2AB69B-F97C-4C94-9ABF-F6157FA215A1}" dt="2025-10-01T15:58:31.007" v="3396" actId="20577"/>
          <ac:spMkLst>
            <pc:docMk/>
            <pc:sldMk cId="1723635444" sldId="272"/>
            <ac:spMk id="10" creationId="{20B21348-51EA-D01E-19DA-F2DC2E9B9034}"/>
          </ac:spMkLst>
        </pc:spChg>
        <pc:spChg chg="mod">
          <ac:chgData name="HOLDSWORTH, Izabela (NHS ENGLAND)" userId="c22b7b74-04e3-4b4c-a77a-6bbce117539e" providerId="ADAL" clId="{0A2AB69B-F97C-4C94-9ABF-F6157FA215A1}" dt="2025-10-01T15:57:57.026" v="3362" actId="20577"/>
          <ac:spMkLst>
            <pc:docMk/>
            <pc:sldMk cId="1723635444" sldId="272"/>
            <ac:spMk id="12" creationId="{A7838E46-A05A-C18B-B1BA-70658F314DA0}"/>
          </ac:spMkLst>
        </pc:spChg>
        <pc:spChg chg="mod">
          <ac:chgData name="HOLDSWORTH, Izabela (NHS ENGLAND)" userId="c22b7b74-04e3-4b4c-a77a-6bbce117539e" providerId="ADAL" clId="{0A2AB69B-F97C-4C94-9ABF-F6157FA215A1}" dt="2025-10-01T15:58:03.413" v="3369" actId="20577"/>
          <ac:spMkLst>
            <pc:docMk/>
            <pc:sldMk cId="1723635444" sldId="272"/>
            <ac:spMk id="13" creationId="{03184AE1-786A-5279-048A-A2DF4B92D9B2}"/>
          </ac:spMkLst>
        </pc:spChg>
        <pc:spChg chg="mod">
          <ac:chgData name="HOLDSWORTH, Izabela (NHS ENGLAND)" userId="c22b7b74-04e3-4b4c-a77a-6bbce117539e" providerId="ADAL" clId="{0A2AB69B-F97C-4C94-9ABF-F6157FA215A1}" dt="2025-10-01T15:58:12.510" v="3382" actId="20577"/>
          <ac:spMkLst>
            <pc:docMk/>
            <pc:sldMk cId="1723635444" sldId="272"/>
            <ac:spMk id="14" creationId="{25F6BD92-8D17-06DB-1339-1589F4E6FBFB}"/>
          </ac:spMkLst>
        </pc:spChg>
        <pc:spChg chg="add mod">
          <ac:chgData name="HOLDSWORTH, Izabela (NHS ENGLAND)" userId="c22b7b74-04e3-4b4c-a77a-6bbce117539e" providerId="ADAL" clId="{0A2AB69B-F97C-4C94-9ABF-F6157FA215A1}" dt="2025-10-01T16:44:11.377" v="3748" actId="1076"/>
          <ac:spMkLst>
            <pc:docMk/>
            <pc:sldMk cId="1723635444" sldId="272"/>
            <ac:spMk id="20" creationId="{C1099DDC-DDE6-BC2D-1AD5-D18EBD815EFC}"/>
          </ac:spMkLst>
        </pc:spChg>
        <pc:spChg chg="add mod">
          <ac:chgData name="HOLDSWORTH, Izabela (NHS ENGLAND)" userId="c22b7b74-04e3-4b4c-a77a-6bbce117539e" providerId="ADAL" clId="{0A2AB69B-F97C-4C94-9ABF-F6157FA215A1}" dt="2025-10-01T16:44:11.377" v="3748" actId="1076"/>
          <ac:spMkLst>
            <pc:docMk/>
            <pc:sldMk cId="1723635444" sldId="272"/>
            <ac:spMk id="21" creationId="{CE2ED3EA-42B7-8536-C647-665DD89CD6E9}"/>
          </ac:spMkLst>
        </pc:spChg>
        <pc:spChg chg="add mod">
          <ac:chgData name="HOLDSWORTH, Izabela (NHS ENGLAND)" userId="c22b7b74-04e3-4b4c-a77a-6bbce117539e" providerId="ADAL" clId="{0A2AB69B-F97C-4C94-9ABF-F6157FA215A1}" dt="2025-10-01T16:44:11.377" v="3748" actId="1076"/>
          <ac:spMkLst>
            <pc:docMk/>
            <pc:sldMk cId="1723635444" sldId="272"/>
            <ac:spMk id="22" creationId="{1F583B7B-47F5-02DA-421E-26EDEF0F765B}"/>
          </ac:spMkLst>
        </pc:spChg>
        <pc:spChg chg="add mod">
          <ac:chgData name="HOLDSWORTH, Izabela (NHS ENGLAND)" userId="c22b7b74-04e3-4b4c-a77a-6bbce117539e" providerId="ADAL" clId="{0A2AB69B-F97C-4C94-9ABF-F6157FA215A1}" dt="2025-10-01T16:44:11.377" v="3748" actId="1076"/>
          <ac:spMkLst>
            <pc:docMk/>
            <pc:sldMk cId="1723635444" sldId="272"/>
            <ac:spMk id="23" creationId="{34828B5E-C855-F4FB-697E-E87C7B0D86FC}"/>
          </ac:spMkLst>
        </pc:spChg>
        <pc:spChg chg="add mod">
          <ac:chgData name="HOLDSWORTH, Izabela (NHS ENGLAND)" userId="c22b7b74-04e3-4b4c-a77a-6bbce117539e" providerId="ADAL" clId="{0A2AB69B-F97C-4C94-9ABF-F6157FA215A1}" dt="2025-10-01T16:44:11.377" v="3748" actId="1076"/>
          <ac:spMkLst>
            <pc:docMk/>
            <pc:sldMk cId="1723635444" sldId="272"/>
            <ac:spMk id="24" creationId="{42DA4652-880C-8294-68E9-B6C27D63DE2A}"/>
          </ac:spMkLst>
        </pc:spChg>
        <pc:spChg chg="mod">
          <ac:chgData name="HOLDSWORTH, Izabela (NHS ENGLAND)" userId="c22b7b74-04e3-4b4c-a77a-6bbce117539e" providerId="ADAL" clId="{0A2AB69B-F97C-4C94-9ABF-F6157FA215A1}" dt="2025-10-01T16:45:22.108" v="3757" actId="20577"/>
          <ac:spMkLst>
            <pc:docMk/>
            <pc:sldMk cId="1723635444" sldId="272"/>
            <ac:spMk id="29" creationId="{17E94FB9-9BEF-C37E-DDDE-CDBB92828F73}"/>
          </ac:spMkLst>
        </pc:spChg>
        <pc:spChg chg="add del mod">
          <ac:chgData name="HOLDSWORTH, Izabela (NHS ENGLAND)" userId="c22b7b74-04e3-4b4c-a77a-6bbce117539e" providerId="ADAL" clId="{0A2AB69B-F97C-4C94-9ABF-F6157FA215A1}" dt="2025-10-01T17:07:25.508" v="3858" actId="207"/>
          <ac:spMkLst>
            <pc:docMk/>
            <pc:sldMk cId="1723635444" sldId="272"/>
            <ac:spMk id="66" creationId="{AEBF304B-873B-9EB6-93AA-C2FDEA216761}"/>
          </ac:spMkLst>
        </pc:spChg>
        <pc:picChg chg="add mod">
          <ac:chgData name="HOLDSWORTH, Izabela (NHS ENGLAND)" userId="c22b7b74-04e3-4b4c-a77a-6bbce117539e" providerId="ADAL" clId="{0A2AB69B-F97C-4C94-9ABF-F6157FA215A1}" dt="2025-10-01T15:44:27.841" v="3135" actId="14100"/>
          <ac:picMkLst>
            <pc:docMk/>
            <pc:sldMk cId="1723635444" sldId="272"/>
            <ac:picMk id="6" creationId="{6D327121-E38E-5330-1D16-F610D36B7987}"/>
          </ac:picMkLst>
        </pc:picChg>
        <pc:picChg chg="del">
          <ac:chgData name="HOLDSWORTH, Izabela (NHS ENGLAND)" userId="c22b7b74-04e3-4b4c-a77a-6bbce117539e" providerId="ADAL" clId="{0A2AB69B-F97C-4C94-9ABF-F6157FA215A1}" dt="2025-10-01T12:48:33.875" v="1662" actId="478"/>
          <ac:picMkLst>
            <pc:docMk/>
            <pc:sldMk cId="1723635444" sldId="272"/>
            <ac:picMk id="25" creationId="{AE3829FD-A9EC-3075-396C-98BF60FB391C}"/>
          </ac:picMkLst>
        </pc:picChg>
        <pc:cxnChg chg="add del mod">
          <ac:chgData name="HOLDSWORTH, Izabela (NHS ENGLAND)" userId="c22b7b74-04e3-4b4c-a77a-6bbce117539e" providerId="ADAL" clId="{0A2AB69B-F97C-4C94-9ABF-F6157FA215A1}" dt="2025-10-01T16:11:02.092" v="3530" actId="478"/>
          <ac:cxnSpMkLst>
            <pc:docMk/>
            <pc:sldMk cId="1723635444" sldId="272"/>
            <ac:cxnSpMk id="15" creationId="{B91558CC-EAB6-6E00-4B93-39EE15B9E9F2}"/>
          </ac:cxnSpMkLst>
        </pc:cxnChg>
        <pc:cxnChg chg="add mod">
          <ac:chgData name="HOLDSWORTH, Izabela (NHS ENGLAND)" userId="c22b7b74-04e3-4b4c-a77a-6bbce117539e" providerId="ADAL" clId="{0A2AB69B-F97C-4C94-9ABF-F6157FA215A1}" dt="2025-10-01T14:08:41.336" v="2228" actId="1076"/>
          <ac:cxnSpMkLst>
            <pc:docMk/>
            <pc:sldMk cId="1723635444" sldId="272"/>
            <ac:cxnSpMk id="32" creationId="{E75529AF-BE87-8B7B-5A2C-836DFF8FB61A}"/>
          </ac:cxnSpMkLst>
        </pc:cxnChg>
        <pc:cxnChg chg="mod">
          <ac:chgData name="HOLDSWORTH, Izabela (NHS ENGLAND)" userId="c22b7b74-04e3-4b4c-a77a-6bbce117539e" providerId="ADAL" clId="{0A2AB69B-F97C-4C94-9ABF-F6157FA215A1}" dt="2025-10-01T15:45:06.679" v="3142" actId="14100"/>
          <ac:cxnSpMkLst>
            <pc:docMk/>
            <pc:sldMk cId="1723635444" sldId="272"/>
            <ac:cxnSpMk id="67" creationId="{3C4436A8-82BD-E205-C8A9-DAF75BAC7485}"/>
          </ac:cxnSpMkLst>
        </pc:cxnChg>
        <pc:cxnChg chg="mod">
          <ac:chgData name="HOLDSWORTH, Izabela (NHS ENGLAND)" userId="c22b7b74-04e3-4b4c-a77a-6bbce117539e" providerId="ADAL" clId="{0A2AB69B-F97C-4C94-9ABF-F6157FA215A1}" dt="2025-10-01T16:11:12.012" v="3532" actId="14100"/>
          <ac:cxnSpMkLst>
            <pc:docMk/>
            <pc:sldMk cId="1723635444" sldId="272"/>
            <ac:cxnSpMk id="72" creationId="{1141DE3D-109C-7C94-E6CC-A7885F8BBD35}"/>
          </ac:cxnSpMkLst>
        </pc:cxnChg>
        <pc:cxnChg chg="mod ord">
          <ac:chgData name="HOLDSWORTH, Izabela (NHS ENGLAND)" userId="c22b7b74-04e3-4b4c-a77a-6bbce117539e" providerId="ADAL" clId="{0A2AB69B-F97C-4C94-9ABF-F6157FA215A1}" dt="2025-10-01T16:44:49.989" v="3754" actId="14100"/>
          <ac:cxnSpMkLst>
            <pc:docMk/>
            <pc:sldMk cId="1723635444" sldId="272"/>
            <ac:cxnSpMk id="76" creationId="{53EF89A5-0ACC-9FB8-51BF-66B891A4000E}"/>
          </ac:cxnSpMkLst>
        </pc:cxnChg>
        <pc:cxnChg chg="mod">
          <ac:chgData name="HOLDSWORTH, Izabela (NHS ENGLAND)" userId="c22b7b74-04e3-4b4c-a77a-6bbce117539e" providerId="ADAL" clId="{0A2AB69B-F97C-4C94-9ABF-F6157FA215A1}" dt="2025-10-01T16:11:18.753" v="3534" actId="14100"/>
          <ac:cxnSpMkLst>
            <pc:docMk/>
            <pc:sldMk cId="1723635444" sldId="272"/>
            <ac:cxnSpMk id="77" creationId="{421E7BCC-3CE3-DE6D-D27B-272F63F35B54}"/>
          </ac:cxnSpMkLst>
        </pc:cxnChg>
        <pc:cxnChg chg="mod">
          <ac:chgData name="HOLDSWORTH, Izabela (NHS ENGLAND)" userId="c22b7b74-04e3-4b4c-a77a-6bbce117539e" providerId="ADAL" clId="{0A2AB69B-F97C-4C94-9ABF-F6157FA215A1}" dt="2025-10-01T16:11:23.088" v="3535" actId="14100"/>
          <ac:cxnSpMkLst>
            <pc:docMk/>
            <pc:sldMk cId="1723635444" sldId="272"/>
            <ac:cxnSpMk id="78" creationId="{00FD29FD-AE27-3DAE-70D1-7776B9A54515}"/>
          </ac:cxnSpMkLst>
        </pc:cxnChg>
      </pc:sldChg>
      <pc:sldChg chg="addSp delSp modSp add mod">
        <pc:chgData name="HOLDSWORTH, Izabela (NHS ENGLAND)" userId="c22b7b74-04e3-4b4c-a77a-6bbce117539e" providerId="ADAL" clId="{0A2AB69B-F97C-4C94-9ABF-F6157FA215A1}" dt="2025-10-01T16:58:56.101" v="3782" actId="1076"/>
        <pc:sldMkLst>
          <pc:docMk/>
          <pc:sldMk cId="212179852" sldId="273"/>
        </pc:sldMkLst>
        <pc:spChg chg="del mod">
          <ac:chgData name="HOLDSWORTH, Izabela (NHS ENGLAND)" userId="c22b7b74-04e3-4b4c-a77a-6bbce117539e" providerId="ADAL" clId="{0A2AB69B-F97C-4C94-9ABF-F6157FA215A1}" dt="2025-10-01T13:55:32.135" v="1861" actId="478"/>
          <ac:spMkLst>
            <pc:docMk/>
            <pc:sldMk cId="212179852" sldId="273"/>
            <ac:spMk id="2" creationId="{9A7E130B-FA8E-22D2-6A87-45F484A1C40B}"/>
          </ac:spMkLst>
        </pc:spChg>
        <pc:spChg chg="add mod">
          <ac:chgData name="HOLDSWORTH, Izabela (NHS ENGLAND)" userId="c22b7b74-04e3-4b4c-a77a-6bbce117539e" providerId="ADAL" clId="{0A2AB69B-F97C-4C94-9ABF-F6157FA215A1}" dt="2025-10-01T15:59:55.258" v="3420" actId="20577"/>
          <ac:spMkLst>
            <pc:docMk/>
            <pc:sldMk cId="212179852" sldId="273"/>
            <ac:spMk id="2" creationId="{B5A8C133-C159-63B8-9C52-1D66BEBA464E}"/>
          </ac:spMkLst>
        </pc:spChg>
        <pc:spChg chg="add del mod">
          <ac:chgData name="HOLDSWORTH, Izabela (NHS ENGLAND)" userId="c22b7b74-04e3-4b4c-a77a-6bbce117539e" providerId="ADAL" clId="{0A2AB69B-F97C-4C94-9ABF-F6157FA215A1}" dt="2025-10-01T15:40:46.142" v="3091" actId="478"/>
          <ac:spMkLst>
            <pc:docMk/>
            <pc:sldMk cId="212179852" sldId="273"/>
            <ac:spMk id="3" creationId="{2257FB2D-864C-361C-3CCA-7C8977B7A47B}"/>
          </ac:spMkLst>
        </pc:spChg>
        <pc:spChg chg="add mod">
          <ac:chgData name="HOLDSWORTH, Izabela (NHS ENGLAND)" userId="c22b7b74-04e3-4b4c-a77a-6bbce117539e" providerId="ADAL" clId="{0A2AB69B-F97C-4C94-9ABF-F6157FA215A1}" dt="2025-10-01T16:14:34.683" v="3559" actId="20577"/>
          <ac:spMkLst>
            <pc:docMk/>
            <pc:sldMk cId="212179852" sldId="273"/>
            <ac:spMk id="4" creationId="{6EF8AF72-845E-34E0-5C2F-31F4AC87AF41}"/>
          </ac:spMkLst>
        </pc:spChg>
        <pc:spChg chg="add mod">
          <ac:chgData name="HOLDSWORTH, Izabela (NHS ENGLAND)" userId="c22b7b74-04e3-4b4c-a77a-6bbce117539e" providerId="ADAL" clId="{0A2AB69B-F97C-4C94-9ABF-F6157FA215A1}" dt="2025-10-01T16:00:42.794" v="3443" actId="20577"/>
          <ac:spMkLst>
            <pc:docMk/>
            <pc:sldMk cId="212179852" sldId="273"/>
            <ac:spMk id="5" creationId="{9B4C976B-FC27-575B-0F65-9B1A9730623E}"/>
          </ac:spMkLst>
        </pc:spChg>
        <pc:spChg chg="add del mod">
          <ac:chgData name="HOLDSWORTH, Izabela (NHS ENGLAND)" userId="c22b7b74-04e3-4b4c-a77a-6bbce117539e" providerId="ADAL" clId="{0A2AB69B-F97C-4C94-9ABF-F6157FA215A1}" dt="2025-10-01T15:40:23.096" v="3080" actId="478"/>
          <ac:spMkLst>
            <pc:docMk/>
            <pc:sldMk cId="212179852" sldId="273"/>
            <ac:spMk id="6" creationId="{3DB0A9B7-9C24-768A-A968-A82E88FCAE0D}"/>
          </ac:spMkLst>
        </pc:spChg>
        <pc:spChg chg="add del mod">
          <ac:chgData name="HOLDSWORTH, Izabela (NHS ENGLAND)" userId="c22b7b74-04e3-4b4c-a77a-6bbce117539e" providerId="ADAL" clId="{0A2AB69B-F97C-4C94-9ABF-F6157FA215A1}" dt="2025-10-01T13:55:34.922" v="1862" actId="478"/>
          <ac:spMkLst>
            <pc:docMk/>
            <pc:sldMk cId="212179852" sldId="273"/>
            <ac:spMk id="7" creationId="{394BF45B-12D0-1981-D9C3-96298B7B725D}"/>
          </ac:spMkLst>
        </pc:spChg>
        <pc:spChg chg="add del mod">
          <ac:chgData name="HOLDSWORTH, Izabela (NHS ENGLAND)" userId="c22b7b74-04e3-4b4c-a77a-6bbce117539e" providerId="ADAL" clId="{0A2AB69B-F97C-4C94-9ABF-F6157FA215A1}" dt="2025-10-01T15:40:50.961" v="3092" actId="478"/>
          <ac:spMkLst>
            <pc:docMk/>
            <pc:sldMk cId="212179852" sldId="273"/>
            <ac:spMk id="7" creationId="{F867AD9C-D3AC-BEEA-15AA-702B2F50D9CB}"/>
          </ac:spMkLst>
        </pc:spChg>
        <pc:spChg chg="add mod">
          <ac:chgData name="HOLDSWORTH, Izabela (NHS ENGLAND)" userId="c22b7b74-04e3-4b4c-a77a-6bbce117539e" providerId="ADAL" clId="{0A2AB69B-F97C-4C94-9ABF-F6157FA215A1}" dt="2025-10-01T16:58:56.101" v="3782" actId="1076"/>
          <ac:spMkLst>
            <pc:docMk/>
            <pc:sldMk cId="212179852" sldId="273"/>
            <ac:spMk id="10" creationId="{93BCAF62-CCC3-CACB-4259-F14C78FB7B36}"/>
          </ac:spMkLst>
        </pc:spChg>
        <pc:spChg chg="add">
          <ac:chgData name="HOLDSWORTH, Izabela (NHS ENGLAND)" userId="c22b7b74-04e3-4b4c-a77a-6bbce117539e" providerId="ADAL" clId="{0A2AB69B-F97C-4C94-9ABF-F6157FA215A1}" dt="2025-10-01T14:00:47.135" v="1933"/>
          <ac:spMkLst>
            <pc:docMk/>
            <pc:sldMk cId="212179852" sldId="273"/>
            <ac:spMk id="11" creationId="{225D7535-07B2-778C-68D7-CE8337252DFE}"/>
          </ac:spMkLst>
        </pc:spChg>
        <pc:spChg chg="mod">
          <ac:chgData name="HOLDSWORTH, Izabela (NHS ENGLAND)" userId="c22b7b74-04e3-4b4c-a77a-6bbce117539e" providerId="ADAL" clId="{0A2AB69B-F97C-4C94-9ABF-F6157FA215A1}" dt="2025-10-01T16:52:20.846" v="3759" actId="207"/>
          <ac:spMkLst>
            <pc:docMk/>
            <pc:sldMk cId="212179852" sldId="273"/>
            <ac:spMk id="66" creationId="{C90397ED-DBD5-B4E3-6532-1AF1F38BCF2E}"/>
          </ac:spMkLst>
        </pc:spChg>
        <pc:spChg chg="del">
          <ac:chgData name="HOLDSWORTH, Izabela (NHS ENGLAND)" userId="c22b7b74-04e3-4b4c-a77a-6bbce117539e" providerId="ADAL" clId="{0A2AB69B-F97C-4C94-9ABF-F6157FA215A1}" dt="2025-10-01T12:40:27.911" v="1638"/>
          <ac:spMkLst>
            <pc:docMk/>
            <pc:sldMk cId="212179852" sldId="273"/>
            <ac:spMk id="79" creationId="{732C9C2A-453B-E1CD-0FDB-68FE33CD2CDA}"/>
          </ac:spMkLst>
        </pc:spChg>
        <pc:picChg chg="add mod">
          <ac:chgData name="HOLDSWORTH, Izabela (NHS ENGLAND)" userId="c22b7b74-04e3-4b4c-a77a-6bbce117539e" providerId="ADAL" clId="{0A2AB69B-F97C-4C94-9ABF-F6157FA215A1}" dt="2025-10-01T16:14:00.659" v="3538" actId="1076"/>
          <ac:picMkLst>
            <pc:docMk/>
            <pc:sldMk cId="212179852" sldId="273"/>
            <ac:picMk id="3" creationId="{06B699C1-A444-F8A1-6D5F-CDB4BE7F9497}"/>
          </ac:picMkLst>
        </pc:picChg>
        <pc:picChg chg="add mod">
          <ac:chgData name="HOLDSWORTH, Izabela (NHS ENGLAND)" userId="c22b7b74-04e3-4b4c-a77a-6bbce117539e" providerId="ADAL" clId="{0A2AB69B-F97C-4C94-9ABF-F6157FA215A1}" dt="2025-10-01T15:41:03.874" v="3095" actId="14100"/>
          <ac:picMkLst>
            <pc:docMk/>
            <pc:sldMk cId="212179852" sldId="273"/>
            <ac:picMk id="9" creationId="{2CCEA28F-C7FA-542A-6C71-FF42697D7852}"/>
          </ac:picMkLst>
        </pc:picChg>
        <pc:picChg chg="del">
          <ac:chgData name="HOLDSWORTH, Izabela (NHS ENGLAND)" userId="c22b7b74-04e3-4b4c-a77a-6bbce117539e" providerId="ADAL" clId="{0A2AB69B-F97C-4C94-9ABF-F6157FA215A1}" dt="2025-10-01T12:40:19.716" v="1637" actId="478"/>
          <ac:picMkLst>
            <pc:docMk/>
            <pc:sldMk cId="212179852" sldId="273"/>
            <ac:picMk id="80" creationId="{47F1DC26-DCA1-5F00-A431-665F94FD29F0}"/>
          </ac:picMkLst>
        </pc:picChg>
        <pc:cxnChg chg="add mod">
          <ac:chgData name="HOLDSWORTH, Izabela (NHS ENGLAND)" userId="c22b7b74-04e3-4b4c-a77a-6bbce117539e" providerId="ADAL" clId="{0A2AB69B-F97C-4C94-9ABF-F6157FA215A1}" dt="2025-10-01T14:09:17.361" v="2232" actId="1076"/>
          <ac:cxnSpMkLst>
            <pc:docMk/>
            <pc:sldMk cId="212179852" sldId="273"/>
            <ac:cxnSpMk id="12" creationId="{ACE67C46-73DF-9C1A-152C-9F1D4B6A7648}"/>
          </ac:cxnSpMkLst>
        </pc:cxnChg>
      </pc:sldChg>
      <pc:sldChg chg="addSp delSp modSp add mod">
        <pc:chgData name="HOLDSWORTH, Izabela (NHS ENGLAND)" userId="c22b7b74-04e3-4b4c-a77a-6bbce117539e" providerId="ADAL" clId="{0A2AB69B-F97C-4C94-9ABF-F6157FA215A1}" dt="2025-10-01T17:08:34.400" v="3863" actId="2085"/>
        <pc:sldMkLst>
          <pc:docMk/>
          <pc:sldMk cId="3729869868" sldId="274"/>
        </pc:sldMkLst>
        <pc:spChg chg="add mod ord">
          <ac:chgData name="HOLDSWORTH, Izabela (NHS ENGLAND)" userId="c22b7b74-04e3-4b4c-a77a-6bbce117539e" providerId="ADAL" clId="{0A2AB69B-F97C-4C94-9ABF-F6157FA215A1}" dt="2025-10-01T17:08:34.400" v="3863" actId="2085"/>
          <ac:spMkLst>
            <pc:docMk/>
            <pc:sldMk cId="3729869868" sldId="274"/>
            <ac:spMk id="2" creationId="{B081C8F2-0D81-BBF4-1991-D015C0A3C456}"/>
          </ac:spMkLst>
        </pc:spChg>
        <pc:spChg chg="mod">
          <ac:chgData name="HOLDSWORTH, Izabela (NHS ENGLAND)" userId="c22b7b74-04e3-4b4c-a77a-6bbce117539e" providerId="ADAL" clId="{0A2AB69B-F97C-4C94-9ABF-F6157FA215A1}" dt="2025-10-01T17:08:17.316" v="3861" actId="1076"/>
          <ac:spMkLst>
            <pc:docMk/>
            <pc:sldMk cId="3729869868" sldId="274"/>
            <ac:spMk id="3" creationId="{2385DD8E-60EC-A716-C79B-28EAB50F5808}"/>
          </ac:spMkLst>
        </pc:spChg>
        <pc:spChg chg="mod">
          <ac:chgData name="HOLDSWORTH, Izabela (NHS ENGLAND)" userId="c22b7b74-04e3-4b4c-a77a-6bbce117539e" providerId="ADAL" clId="{0A2AB69B-F97C-4C94-9ABF-F6157FA215A1}" dt="2025-10-01T14:22:04.175" v="2477" actId="20577"/>
          <ac:spMkLst>
            <pc:docMk/>
            <pc:sldMk cId="3729869868" sldId="274"/>
            <ac:spMk id="4" creationId="{C6621922-2ADE-95C9-15E5-9CB0569CAB54}"/>
          </ac:spMkLst>
        </pc:spChg>
        <pc:spChg chg="mod">
          <ac:chgData name="HOLDSWORTH, Izabela (NHS ENGLAND)" userId="c22b7b74-04e3-4b4c-a77a-6bbce117539e" providerId="ADAL" clId="{0A2AB69B-F97C-4C94-9ABF-F6157FA215A1}" dt="2025-10-01T14:16:19.886" v="2354" actId="1076"/>
          <ac:spMkLst>
            <pc:docMk/>
            <pc:sldMk cId="3729869868" sldId="274"/>
            <ac:spMk id="10" creationId="{8B50B1FA-53A3-D715-2828-FEA63BF814D3}"/>
          </ac:spMkLst>
        </pc:spChg>
        <pc:spChg chg="add mod">
          <ac:chgData name="HOLDSWORTH, Izabela (NHS ENGLAND)" userId="c22b7b74-04e3-4b4c-a77a-6bbce117539e" providerId="ADAL" clId="{0A2AB69B-F97C-4C94-9ABF-F6157FA215A1}" dt="2025-10-01T16:15:18.201" v="3569" actId="20577"/>
          <ac:spMkLst>
            <pc:docMk/>
            <pc:sldMk cId="3729869868" sldId="274"/>
            <ac:spMk id="14" creationId="{141FDF4A-1780-13FD-4593-DEF7056270E7}"/>
          </ac:spMkLst>
        </pc:spChg>
        <pc:spChg chg="add mod">
          <ac:chgData name="HOLDSWORTH, Izabela (NHS ENGLAND)" userId="c22b7b74-04e3-4b4c-a77a-6bbce117539e" providerId="ADAL" clId="{0A2AB69B-F97C-4C94-9ABF-F6157FA215A1}" dt="2025-10-01T16:15:25.405" v="3578" actId="20577"/>
          <ac:spMkLst>
            <pc:docMk/>
            <pc:sldMk cId="3729869868" sldId="274"/>
            <ac:spMk id="15" creationId="{DCA529CD-7B04-9D5B-87FD-A543DB50D3CA}"/>
          </ac:spMkLst>
        </pc:spChg>
        <pc:spChg chg="mod">
          <ac:chgData name="HOLDSWORTH, Izabela (NHS ENGLAND)" userId="c22b7b74-04e3-4b4c-a77a-6bbce117539e" providerId="ADAL" clId="{0A2AB69B-F97C-4C94-9ABF-F6157FA215A1}" dt="2025-10-01T16:52:31.499" v="3760" actId="207"/>
          <ac:spMkLst>
            <pc:docMk/>
            <pc:sldMk cId="3729869868" sldId="274"/>
            <ac:spMk id="66" creationId="{1104008B-094F-449D-C3CC-A381575E05CC}"/>
          </ac:spMkLst>
        </pc:spChg>
        <pc:picChg chg="add mod">
          <ac:chgData name="HOLDSWORTH, Izabela (NHS ENGLAND)" userId="c22b7b74-04e3-4b4c-a77a-6bbce117539e" providerId="ADAL" clId="{0A2AB69B-F97C-4C94-9ABF-F6157FA215A1}" dt="2025-10-01T16:02:04.092" v="3454" actId="1076"/>
          <ac:picMkLst>
            <pc:docMk/>
            <pc:sldMk cId="3729869868" sldId="274"/>
            <ac:picMk id="7" creationId="{2425C43B-727A-E958-7E0F-6969CF097D95}"/>
          </ac:picMkLst>
        </pc:picChg>
        <pc:picChg chg="del">
          <ac:chgData name="HOLDSWORTH, Izabela (NHS ENGLAND)" userId="c22b7b74-04e3-4b4c-a77a-6bbce117539e" providerId="ADAL" clId="{0A2AB69B-F97C-4C94-9ABF-F6157FA215A1}" dt="2025-10-01T14:12:07.184" v="2254" actId="478"/>
          <ac:picMkLst>
            <pc:docMk/>
            <pc:sldMk cId="3729869868" sldId="274"/>
            <ac:picMk id="9" creationId="{460FDA27-B49F-D1F5-FF7F-A539CDABE2F7}"/>
          </ac:picMkLst>
        </pc:picChg>
        <pc:picChg chg="add mod">
          <ac:chgData name="HOLDSWORTH, Izabela (NHS ENGLAND)" userId="c22b7b74-04e3-4b4c-a77a-6bbce117539e" providerId="ADAL" clId="{0A2AB69B-F97C-4C94-9ABF-F6157FA215A1}" dt="2025-10-01T16:01:43.025" v="3449" actId="1076"/>
          <ac:picMkLst>
            <pc:docMk/>
            <pc:sldMk cId="3729869868" sldId="274"/>
            <ac:picMk id="13" creationId="{F83105F7-A6D8-E331-8A5A-BC44DABA1EC1}"/>
          </ac:picMkLst>
        </pc:picChg>
        <pc:cxnChg chg="mod">
          <ac:chgData name="HOLDSWORTH, Izabela (NHS ENGLAND)" userId="c22b7b74-04e3-4b4c-a77a-6bbce117539e" providerId="ADAL" clId="{0A2AB69B-F97C-4C94-9ABF-F6157FA215A1}" dt="2025-10-01T14:21:07.009" v="2447" actId="14100"/>
          <ac:cxnSpMkLst>
            <pc:docMk/>
            <pc:sldMk cId="3729869868" sldId="274"/>
            <ac:cxnSpMk id="12" creationId="{0DF8ABAF-1CEB-E8C4-4875-C6C8FB71BDAB}"/>
          </ac:cxnSpMkLst>
        </pc:cxnChg>
      </pc:sldChg>
      <pc:sldChg chg="modSp new del mod">
        <pc:chgData name="HOLDSWORTH, Izabela (NHS ENGLAND)" userId="c22b7b74-04e3-4b4c-a77a-6bbce117539e" providerId="ADAL" clId="{0A2AB69B-F97C-4C94-9ABF-F6157FA215A1}" dt="2025-10-01T17:06:59.108" v="3857" actId="47"/>
        <pc:sldMkLst>
          <pc:docMk/>
          <pc:sldMk cId="956686176" sldId="275"/>
        </pc:sldMkLst>
        <pc:spChg chg="mod">
          <ac:chgData name="HOLDSWORTH, Izabela (NHS ENGLAND)" userId="c22b7b74-04e3-4b4c-a77a-6bbce117539e" providerId="ADAL" clId="{0A2AB69B-F97C-4C94-9ABF-F6157FA215A1}" dt="2025-10-01T15:59:21.878" v="3403" actId="20577"/>
          <ac:spMkLst>
            <pc:docMk/>
            <pc:sldMk cId="956686176" sldId="275"/>
            <ac:spMk id="2" creationId="{7419475E-9FFC-1C3F-2A0C-3BFEE08D74D8}"/>
          </ac:spMkLst>
        </pc:spChg>
      </pc:sldChg>
      <pc:sldChg chg="addSp delSp modSp add mod">
        <pc:chgData name="HOLDSWORTH, Izabela (NHS ENGLAND)" userId="c22b7b74-04e3-4b4c-a77a-6bbce117539e" providerId="ADAL" clId="{0A2AB69B-F97C-4C94-9ABF-F6157FA215A1}" dt="2025-10-01T17:06:50.379" v="3856" actId="1076"/>
        <pc:sldMkLst>
          <pc:docMk/>
          <pc:sldMk cId="3085197754" sldId="276"/>
        </pc:sldMkLst>
        <pc:spChg chg="mod">
          <ac:chgData name="HOLDSWORTH, Izabela (NHS ENGLAND)" userId="c22b7b74-04e3-4b4c-a77a-6bbce117539e" providerId="ADAL" clId="{0A2AB69B-F97C-4C94-9ABF-F6157FA215A1}" dt="2025-10-01T17:06:47.561" v="3855" actId="1076"/>
          <ac:spMkLst>
            <pc:docMk/>
            <pc:sldMk cId="3085197754" sldId="276"/>
            <ac:spMk id="4" creationId="{317E81D6-F5D3-2D12-8B8A-1E249D70BC81}"/>
          </ac:spMkLst>
        </pc:spChg>
        <pc:spChg chg="mod">
          <ac:chgData name="HOLDSWORTH, Izabela (NHS ENGLAND)" userId="c22b7b74-04e3-4b4c-a77a-6bbce117539e" providerId="ADAL" clId="{0A2AB69B-F97C-4C94-9ABF-F6157FA215A1}" dt="2025-10-01T17:06:50.379" v="3856" actId="1076"/>
          <ac:spMkLst>
            <pc:docMk/>
            <pc:sldMk cId="3085197754" sldId="276"/>
            <ac:spMk id="5" creationId="{292D3E1D-6694-EEE1-075D-7859D5C61985}"/>
          </ac:spMkLst>
        </pc:spChg>
        <pc:spChg chg="add">
          <ac:chgData name="HOLDSWORTH, Izabela (NHS ENGLAND)" userId="c22b7b74-04e3-4b4c-a77a-6bbce117539e" providerId="ADAL" clId="{0A2AB69B-F97C-4C94-9ABF-F6157FA215A1}" dt="2025-10-01T17:00:07.701" v="3785"/>
          <ac:spMkLst>
            <pc:docMk/>
            <pc:sldMk cId="3085197754" sldId="276"/>
            <ac:spMk id="6" creationId="{4B9049F5-D37C-09E1-FEB5-FADB630968A4}"/>
          </ac:spMkLst>
        </pc:spChg>
        <pc:spChg chg="mod">
          <ac:chgData name="HOLDSWORTH, Izabela (NHS ENGLAND)" userId="c22b7b74-04e3-4b4c-a77a-6bbce117539e" providerId="ADAL" clId="{0A2AB69B-F97C-4C94-9ABF-F6157FA215A1}" dt="2025-10-01T17:00:47.155" v="3793" actId="1076"/>
          <ac:spMkLst>
            <pc:docMk/>
            <pc:sldMk cId="3085197754" sldId="276"/>
            <ac:spMk id="7" creationId="{C09633C3-929E-55C5-A96D-6D568384FC6B}"/>
          </ac:spMkLst>
        </pc:spChg>
        <pc:spChg chg="mod">
          <ac:chgData name="HOLDSWORTH, Izabela (NHS ENGLAND)" userId="c22b7b74-04e3-4b4c-a77a-6bbce117539e" providerId="ADAL" clId="{0A2AB69B-F97C-4C94-9ABF-F6157FA215A1}" dt="2025-10-01T17:02:08.355" v="3803" actId="207"/>
          <ac:spMkLst>
            <pc:docMk/>
            <pc:sldMk cId="3085197754" sldId="276"/>
            <ac:spMk id="10" creationId="{EF971ADE-1B15-C2FF-FB41-68C3B9CCC323}"/>
          </ac:spMkLst>
        </pc:spChg>
        <pc:spChg chg="mod">
          <ac:chgData name="HOLDSWORTH, Izabela (NHS ENGLAND)" userId="c22b7b74-04e3-4b4c-a77a-6bbce117539e" providerId="ADAL" clId="{0A2AB69B-F97C-4C94-9ABF-F6157FA215A1}" dt="2025-10-01T17:04:20.425" v="3816" actId="478"/>
          <ac:spMkLst>
            <pc:docMk/>
            <pc:sldMk cId="3085197754" sldId="276"/>
            <ac:spMk id="13" creationId="{58EB8DDB-1BF5-FBF8-4B13-66C95C8BEE95}"/>
          </ac:spMkLst>
        </pc:spChg>
        <pc:spChg chg="del">
          <ac:chgData name="HOLDSWORTH, Izabela (NHS ENGLAND)" userId="c22b7b74-04e3-4b4c-a77a-6bbce117539e" providerId="ADAL" clId="{0A2AB69B-F97C-4C94-9ABF-F6157FA215A1}" dt="2025-10-01T17:04:17.888" v="3815" actId="478"/>
          <ac:spMkLst>
            <pc:docMk/>
            <pc:sldMk cId="3085197754" sldId="276"/>
            <ac:spMk id="15" creationId="{80F40822-7E8C-7320-EFDE-9C92F26E88B5}"/>
          </ac:spMkLst>
        </pc:spChg>
        <pc:spChg chg="del mod">
          <ac:chgData name="HOLDSWORTH, Izabela (NHS ENGLAND)" userId="c22b7b74-04e3-4b4c-a77a-6bbce117539e" providerId="ADAL" clId="{0A2AB69B-F97C-4C94-9ABF-F6157FA215A1}" dt="2025-10-01T17:04:20.425" v="3816" actId="478"/>
          <ac:spMkLst>
            <pc:docMk/>
            <pc:sldMk cId="3085197754" sldId="276"/>
            <ac:spMk id="16" creationId="{5E169525-A37B-A6CC-F091-9F20D017A3D4}"/>
          </ac:spMkLst>
        </pc:spChg>
        <pc:spChg chg="mod">
          <ac:chgData name="HOLDSWORTH, Izabela (NHS ENGLAND)" userId="c22b7b74-04e3-4b4c-a77a-6bbce117539e" providerId="ADAL" clId="{0A2AB69B-F97C-4C94-9ABF-F6157FA215A1}" dt="2025-10-01T17:01:51.993" v="3801" actId="207"/>
          <ac:spMkLst>
            <pc:docMk/>
            <pc:sldMk cId="3085197754" sldId="276"/>
            <ac:spMk id="17" creationId="{6BDA706B-11DC-0C73-1122-C0E666A1AD0E}"/>
          </ac:spMkLst>
        </pc:spChg>
        <pc:spChg chg="mod">
          <ac:chgData name="HOLDSWORTH, Izabela (NHS ENGLAND)" userId="c22b7b74-04e3-4b4c-a77a-6bbce117539e" providerId="ADAL" clId="{0A2AB69B-F97C-4C94-9ABF-F6157FA215A1}" dt="2025-10-01T17:02:53.582" v="3805" actId="207"/>
          <ac:spMkLst>
            <pc:docMk/>
            <pc:sldMk cId="3085197754" sldId="276"/>
            <ac:spMk id="24" creationId="{41459E21-E617-A687-C15E-235733D0BD74}"/>
          </ac:spMkLst>
        </pc:spChg>
        <pc:spChg chg="mod">
          <ac:chgData name="HOLDSWORTH, Izabela (NHS ENGLAND)" userId="c22b7b74-04e3-4b4c-a77a-6bbce117539e" providerId="ADAL" clId="{0A2AB69B-F97C-4C94-9ABF-F6157FA215A1}" dt="2025-10-01T17:06:37.525" v="3854" actId="20577"/>
          <ac:spMkLst>
            <pc:docMk/>
            <pc:sldMk cId="3085197754" sldId="276"/>
            <ac:spMk id="48" creationId="{E1B3323A-3679-B312-42B0-7E0D5CD0D0A4}"/>
          </ac:spMkLst>
        </pc:spChg>
        <pc:spChg chg="mod">
          <ac:chgData name="HOLDSWORTH, Izabela (NHS ENGLAND)" userId="c22b7b74-04e3-4b4c-a77a-6bbce117539e" providerId="ADAL" clId="{0A2AB69B-F97C-4C94-9ABF-F6157FA215A1}" dt="2025-10-01T17:05:29.582" v="3823" actId="207"/>
          <ac:spMkLst>
            <pc:docMk/>
            <pc:sldMk cId="3085197754" sldId="276"/>
            <ac:spMk id="49" creationId="{1933C2DC-30AC-6426-9B02-AB6A572B07E9}"/>
          </ac:spMkLst>
        </pc:spChg>
        <pc:grpChg chg="del mod">
          <ac:chgData name="HOLDSWORTH, Izabela (NHS ENGLAND)" userId="c22b7b74-04e3-4b4c-a77a-6bbce117539e" providerId="ADAL" clId="{0A2AB69B-F97C-4C94-9ABF-F6157FA215A1}" dt="2025-10-01T17:04:20.425" v="3816" actId="478"/>
          <ac:grpSpMkLst>
            <pc:docMk/>
            <pc:sldMk cId="3085197754" sldId="276"/>
            <ac:grpSpMk id="12" creationId="{35895226-5F9F-188E-5995-2D28C3BBB66D}"/>
          </ac:grpSpMkLst>
        </pc:grpChg>
        <pc:grpChg chg="del mod">
          <ac:chgData name="HOLDSWORTH, Izabela (NHS ENGLAND)" userId="c22b7b74-04e3-4b4c-a77a-6bbce117539e" providerId="ADAL" clId="{0A2AB69B-F97C-4C94-9ABF-F6157FA215A1}" dt="2025-10-01T17:04:17.888" v="3815" actId="478"/>
          <ac:grpSpMkLst>
            <pc:docMk/>
            <pc:sldMk cId="3085197754" sldId="276"/>
            <ac:grpSpMk id="14" creationId="{B4EADB7B-1137-A3C6-4BAE-BB332C29DAB8}"/>
          </ac:grpSpMkLst>
        </pc:grpChg>
        <pc:picChg chg="add mod">
          <ac:chgData name="HOLDSWORTH, Izabela (NHS ENGLAND)" userId="c22b7b74-04e3-4b4c-a77a-6bbce117539e" providerId="ADAL" clId="{0A2AB69B-F97C-4C94-9ABF-F6157FA215A1}" dt="2025-10-01T17:05:14.842" v="3822" actId="27349"/>
          <ac:picMkLst>
            <pc:docMk/>
            <pc:sldMk cId="3085197754" sldId="276"/>
            <ac:picMk id="27" creationId="{AC0CD821-41AF-70CA-6A4C-104F6333BF51}"/>
          </ac:picMkLst>
        </pc:picChg>
      </pc:sldChg>
      <pc:sldChg chg="addSp delSp modSp add del mod">
        <pc:chgData name="HOLDSWORTH, Izabela (NHS ENGLAND)" userId="c22b7b74-04e3-4b4c-a77a-6bbce117539e" providerId="ADAL" clId="{0A2AB69B-F97C-4C94-9ABF-F6157FA215A1}" dt="2025-10-01T11:59:31.764" v="1092"/>
        <pc:sldMkLst>
          <pc:docMk/>
          <pc:sldMk cId="704242372" sldId="2147472978"/>
        </pc:sldMkLst>
        <pc:spChg chg="mod">
          <ac:chgData name="HOLDSWORTH, Izabela (NHS ENGLAND)" userId="c22b7b74-04e3-4b4c-a77a-6bbce117539e" providerId="ADAL" clId="{0A2AB69B-F97C-4C94-9ABF-F6157FA215A1}" dt="2025-10-01T11:59:31.764" v="1092"/>
          <ac:spMkLst>
            <pc:docMk/>
            <pc:sldMk cId="704242372" sldId="2147472978"/>
            <ac:spMk id="6" creationId="{5BD5E6F5-F90F-478E-B1C2-855BDAF713BF}"/>
          </ac:spMkLst>
        </pc:spChg>
        <pc:spChg chg="add del">
          <ac:chgData name="HOLDSWORTH, Izabela (NHS ENGLAND)" userId="c22b7b74-04e3-4b4c-a77a-6bbce117539e" providerId="ADAL" clId="{0A2AB69B-F97C-4C94-9ABF-F6157FA215A1}" dt="2025-10-01T11:59:30.518" v="1089" actId="478"/>
          <ac:spMkLst>
            <pc:docMk/>
            <pc:sldMk cId="704242372" sldId="2147472978"/>
            <ac:spMk id="47" creationId="{26E8DE02-35B9-4CF9-A7AD-C35526B8B147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14D194-DB80-4B52-A035-88F9D3C4A204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C8B962-0117-4B81-8C9D-F8FD85815CCB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40% of UK SMEs cite </a:t>
          </a:r>
          <a:r>
            <a:rPr lang="en-GB" b="1" dirty="0"/>
            <a:t>manual admin </a:t>
          </a:r>
          <a:r>
            <a:rPr lang="en-GB" b="0" dirty="0"/>
            <a:t>as their #1 barrier to growth</a:t>
          </a:r>
          <a:endParaRPr lang="en-US" b="0" dirty="0"/>
        </a:p>
      </dgm:t>
    </dgm:pt>
    <dgm:pt modelId="{A33A51BD-05B1-4C2C-8C4E-F9E792758AB0}" type="parTrans" cxnId="{C77C513F-5F04-44DD-A4B9-DA608BD7C9BE}">
      <dgm:prSet/>
      <dgm:spPr/>
      <dgm:t>
        <a:bodyPr/>
        <a:lstStyle/>
        <a:p>
          <a:endParaRPr lang="en-US"/>
        </a:p>
      </dgm:t>
    </dgm:pt>
    <dgm:pt modelId="{56BFD67A-D06A-4679-A509-39A445D9D436}" type="sibTrans" cxnId="{C77C513F-5F04-44DD-A4B9-DA608BD7C9BE}">
      <dgm:prSet/>
      <dgm:spPr/>
      <dgm:t>
        <a:bodyPr/>
        <a:lstStyle/>
        <a:p>
          <a:endParaRPr lang="en-US"/>
        </a:p>
      </dgm:t>
    </dgm:pt>
    <dgm:pt modelId="{1DC83198-D99F-4C87-A6F1-1B789260484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1" dirty="0"/>
            <a:t>Hidden costs</a:t>
          </a:r>
          <a:r>
            <a:rPr lang="en-GB" dirty="0"/>
            <a:t> pile up — storage, errors, delays, lost revenue.</a:t>
          </a:r>
          <a:endParaRPr lang="en-US" dirty="0"/>
        </a:p>
      </dgm:t>
    </dgm:pt>
    <dgm:pt modelId="{64329C0F-EE95-4759-8131-3002E645CF6B}" type="parTrans" cxnId="{AF3A3713-EE34-431D-95BA-AD0D15B02694}">
      <dgm:prSet/>
      <dgm:spPr/>
      <dgm:t>
        <a:bodyPr/>
        <a:lstStyle/>
        <a:p>
          <a:endParaRPr lang="en-US"/>
        </a:p>
      </dgm:t>
    </dgm:pt>
    <dgm:pt modelId="{ED3B1635-C36A-460C-A97D-8E90ADFCB9B0}" type="sibTrans" cxnId="{AF3A3713-EE34-431D-95BA-AD0D15B02694}">
      <dgm:prSet/>
      <dgm:spPr/>
      <dgm:t>
        <a:bodyPr/>
        <a:lstStyle/>
        <a:p>
          <a:endParaRPr lang="en-US"/>
        </a:p>
      </dgm:t>
    </dgm:pt>
    <dgm:pt modelId="{3F8918F2-EC93-49F9-9E5C-21D646BC9EAE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dirty="0"/>
            <a:t>The average </a:t>
          </a:r>
          <a:r>
            <a:rPr lang="en-GB" b="1" dirty="0"/>
            <a:t>SME employee wastes 6+ hours/week </a:t>
          </a:r>
          <a:r>
            <a:rPr lang="en-GB" b="0" dirty="0"/>
            <a:t>on avoidable tasks</a:t>
          </a:r>
          <a:endParaRPr lang="en-US" b="0" dirty="0"/>
        </a:p>
      </dgm:t>
    </dgm:pt>
    <dgm:pt modelId="{6EE8C542-2E49-401C-B7F3-8B1A706ECEA2}" type="parTrans" cxnId="{51C17768-7438-4D48-96F9-29AE50C59B90}">
      <dgm:prSet/>
      <dgm:spPr/>
      <dgm:t>
        <a:bodyPr/>
        <a:lstStyle/>
        <a:p>
          <a:endParaRPr lang="en-US"/>
        </a:p>
      </dgm:t>
    </dgm:pt>
    <dgm:pt modelId="{3B7CBDFE-6C59-4873-A4E8-6AA929FDFAFB}" type="sibTrans" cxnId="{51C17768-7438-4D48-96F9-29AE50C59B90}">
      <dgm:prSet/>
      <dgm:spPr/>
      <dgm:t>
        <a:bodyPr/>
        <a:lstStyle/>
        <a:p>
          <a:endParaRPr lang="en-US"/>
        </a:p>
      </dgm:t>
    </dgm:pt>
    <dgm:pt modelId="{09D99690-C094-47E1-908D-A4471AC221F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Inefficient customer journey </a:t>
          </a:r>
          <a:r>
            <a:rPr lang="en-US" dirty="0"/>
            <a:t>– bookings, enquiries, or sales processes are inefficient</a:t>
          </a:r>
        </a:p>
      </dgm:t>
    </dgm:pt>
    <dgm:pt modelId="{E2B79535-034E-4D2A-AD09-7CB4E191D774}" type="parTrans" cxnId="{B3648AF5-9F17-44B2-9986-721EC1426D4F}">
      <dgm:prSet/>
      <dgm:spPr/>
      <dgm:t>
        <a:bodyPr/>
        <a:lstStyle/>
        <a:p>
          <a:endParaRPr lang="en-GB"/>
        </a:p>
      </dgm:t>
    </dgm:pt>
    <dgm:pt modelId="{89D1D70D-43FD-4B08-97BC-D74EFEDA3CE7}" type="sibTrans" cxnId="{B3648AF5-9F17-44B2-9986-721EC1426D4F}">
      <dgm:prSet/>
      <dgm:spPr/>
      <dgm:t>
        <a:bodyPr/>
        <a:lstStyle/>
        <a:p>
          <a:endParaRPr lang="en-GB"/>
        </a:p>
      </dgm:t>
    </dgm:pt>
    <dgm:pt modelId="{30FAAC02-B6FB-431B-A97B-6C3E77A556C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Siloed systems </a:t>
          </a:r>
          <a:r>
            <a:rPr lang="en-US" dirty="0"/>
            <a:t>– tools don’t talk to each other, causing duplication, rework and errors  </a:t>
          </a:r>
        </a:p>
      </dgm:t>
    </dgm:pt>
    <dgm:pt modelId="{3EDDE982-6A32-4B2A-8F6C-C09C5C61980F}" type="parTrans" cxnId="{567AFDEA-4558-4CD3-9E6C-B59C95B2F5AB}">
      <dgm:prSet/>
      <dgm:spPr/>
      <dgm:t>
        <a:bodyPr/>
        <a:lstStyle/>
        <a:p>
          <a:endParaRPr lang="en-GB"/>
        </a:p>
      </dgm:t>
    </dgm:pt>
    <dgm:pt modelId="{CC3B1BFA-26CC-42BF-ACD3-7B52B65EA253}" type="sibTrans" cxnId="{567AFDEA-4558-4CD3-9E6C-B59C95B2F5AB}">
      <dgm:prSet/>
      <dgm:spPr/>
      <dgm:t>
        <a:bodyPr/>
        <a:lstStyle/>
        <a:p>
          <a:endParaRPr lang="en-GB"/>
        </a:p>
      </dgm:t>
    </dgm:pt>
    <dgm:pt modelId="{C5026318-41BE-4A35-9B17-ED075DB8F54D}" type="pres">
      <dgm:prSet presAssocID="{BB14D194-DB80-4B52-A035-88F9D3C4A204}" presName="root" presStyleCnt="0">
        <dgm:presLayoutVars>
          <dgm:dir/>
          <dgm:resizeHandles val="exact"/>
        </dgm:presLayoutVars>
      </dgm:prSet>
      <dgm:spPr/>
    </dgm:pt>
    <dgm:pt modelId="{E9DFD22D-414B-4C88-970B-FD6C6F5DA485}" type="pres">
      <dgm:prSet presAssocID="{44C8B962-0117-4B81-8C9D-F8FD85815CCB}" presName="compNode" presStyleCnt="0"/>
      <dgm:spPr/>
    </dgm:pt>
    <dgm:pt modelId="{A0BC70D4-0BE0-4D14-B250-18BC58B890EA}" type="pres">
      <dgm:prSet presAssocID="{44C8B962-0117-4B81-8C9D-F8FD85815CCB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B987C599-B650-4F34-AA71-D8903753DC4D}" type="pres">
      <dgm:prSet presAssocID="{44C8B962-0117-4B81-8C9D-F8FD85815CCB}" presName="spaceRect" presStyleCnt="0"/>
      <dgm:spPr/>
    </dgm:pt>
    <dgm:pt modelId="{000371DD-AD4B-4175-8179-FE9C9D5159BE}" type="pres">
      <dgm:prSet presAssocID="{44C8B962-0117-4B81-8C9D-F8FD85815CCB}" presName="textRect" presStyleLbl="revTx" presStyleIdx="0" presStyleCnt="5">
        <dgm:presLayoutVars>
          <dgm:chMax val="1"/>
          <dgm:chPref val="1"/>
        </dgm:presLayoutVars>
      </dgm:prSet>
      <dgm:spPr/>
    </dgm:pt>
    <dgm:pt modelId="{CC1D353E-9858-4205-8CFD-F0D5680BD948}" type="pres">
      <dgm:prSet presAssocID="{56BFD67A-D06A-4679-A509-39A445D9D436}" presName="sibTrans" presStyleCnt="0"/>
      <dgm:spPr/>
    </dgm:pt>
    <dgm:pt modelId="{23171416-D5ED-49BC-9D85-BB8466DC90DE}" type="pres">
      <dgm:prSet presAssocID="{1DC83198-D99F-4C87-A6F1-1B7892604847}" presName="compNode" presStyleCnt="0"/>
      <dgm:spPr/>
    </dgm:pt>
    <dgm:pt modelId="{4A0DA22E-802C-49B0-9E53-82F8B32F567E}" type="pres">
      <dgm:prSet presAssocID="{1DC83198-D99F-4C87-A6F1-1B7892604847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</dgm:pt>
    <dgm:pt modelId="{7F68364C-B724-4BA7-BE1A-EC770F65ABD6}" type="pres">
      <dgm:prSet presAssocID="{1DC83198-D99F-4C87-A6F1-1B7892604847}" presName="spaceRect" presStyleCnt="0"/>
      <dgm:spPr/>
    </dgm:pt>
    <dgm:pt modelId="{BD114BC0-1BEF-4DF0-8EAB-560370A60477}" type="pres">
      <dgm:prSet presAssocID="{1DC83198-D99F-4C87-A6F1-1B7892604847}" presName="textRect" presStyleLbl="revTx" presStyleIdx="1" presStyleCnt="5">
        <dgm:presLayoutVars>
          <dgm:chMax val="1"/>
          <dgm:chPref val="1"/>
        </dgm:presLayoutVars>
      </dgm:prSet>
      <dgm:spPr/>
    </dgm:pt>
    <dgm:pt modelId="{D5A1798E-C103-4FC2-A1D5-2368709CDD64}" type="pres">
      <dgm:prSet presAssocID="{ED3B1635-C36A-460C-A97D-8E90ADFCB9B0}" presName="sibTrans" presStyleCnt="0"/>
      <dgm:spPr/>
    </dgm:pt>
    <dgm:pt modelId="{7E7FBA07-FD03-4EE2-930B-F2CED1D3D6C3}" type="pres">
      <dgm:prSet presAssocID="{3F8918F2-EC93-49F9-9E5C-21D646BC9EAE}" presName="compNode" presStyleCnt="0"/>
      <dgm:spPr/>
    </dgm:pt>
    <dgm:pt modelId="{6E4A54E5-E061-4BD6-9309-67795D68E4A8}" type="pres">
      <dgm:prSet presAssocID="{3F8918F2-EC93-49F9-9E5C-21D646BC9EAE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ipboard Partially Crossed with solid fill"/>
        </a:ext>
      </dgm:extLst>
    </dgm:pt>
    <dgm:pt modelId="{5336E62D-2504-4B9A-97AB-BF3E7EAEAFB3}" type="pres">
      <dgm:prSet presAssocID="{3F8918F2-EC93-49F9-9E5C-21D646BC9EAE}" presName="spaceRect" presStyleCnt="0"/>
      <dgm:spPr/>
    </dgm:pt>
    <dgm:pt modelId="{2A031B6B-28EB-42C5-B620-DCE8BCEFFB57}" type="pres">
      <dgm:prSet presAssocID="{3F8918F2-EC93-49F9-9E5C-21D646BC9EAE}" presName="textRect" presStyleLbl="revTx" presStyleIdx="2" presStyleCnt="5">
        <dgm:presLayoutVars>
          <dgm:chMax val="1"/>
          <dgm:chPref val="1"/>
        </dgm:presLayoutVars>
      </dgm:prSet>
      <dgm:spPr/>
    </dgm:pt>
    <dgm:pt modelId="{6BEEDE60-5F6C-4424-A602-34B7D1933FCE}" type="pres">
      <dgm:prSet presAssocID="{3B7CBDFE-6C59-4873-A4E8-6AA929FDFAFB}" presName="sibTrans" presStyleCnt="0"/>
      <dgm:spPr/>
    </dgm:pt>
    <dgm:pt modelId="{E970D496-7D74-411A-8621-0E6625FAFF34}" type="pres">
      <dgm:prSet presAssocID="{09D99690-C094-47E1-908D-A4471AC221FE}" presName="compNode" presStyleCnt="0"/>
      <dgm:spPr/>
    </dgm:pt>
    <dgm:pt modelId="{802CD0D7-A474-4267-80B9-188E3FCDB505}" type="pres">
      <dgm:prSet presAssocID="{09D99690-C094-47E1-908D-A4471AC221FE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p with pin with solid fill"/>
        </a:ext>
      </dgm:extLst>
    </dgm:pt>
    <dgm:pt modelId="{8DB811D2-D1C6-46A9-B8EA-A04FA425407F}" type="pres">
      <dgm:prSet presAssocID="{09D99690-C094-47E1-908D-A4471AC221FE}" presName="spaceRect" presStyleCnt="0"/>
      <dgm:spPr/>
    </dgm:pt>
    <dgm:pt modelId="{D059EA23-4C5C-402A-9B8B-023549AC5448}" type="pres">
      <dgm:prSet presAssocID="{09D99690-C094-47E1-908D-A4471AC221FE}" presName="textRect" presStyleLbl="revTx" presStyleIdx="3" presStyleCnt="5">
        <dgm:presLayoutVars>
          <dgm:chMax val="1"/>
          <dgm:chPref val="1"/>
        </dgm:presLayoutVars>
      </dgm:prSet>
      <dgm:spPr/>
    </dgm:pt>
    <dgm:pt modelId="{1B98DFA0-364F-4FF5-930E-FAE4409B958E}" type="pres">
      <dgm:prSet presAssocID="{89D1D70D-43FD-4B08-97BC-D74EFEDA3CE7}" presName="sibTrans" presStyleCnt="0"/>
      <dgm:spPr/>
    </dgm:pt>
    <dgm:pt modelId="{9406F87A-E1C0-4086-A2F8-13FFA8F38B13}" type="pres">
      <dgm:prSet presAssocID="{30FAAC02-B6FB-431B-A97B-6C3E77A556C2}" presName="compNode" presStyleCnt="0"/>
      <dgm:spPr/>
    </dgm:pt>
    <dgm:pt modelId="{508281C8-B35F-4DA1-B804-54E9CB48B4DD}" type="pres">
      <dgm:prSet presAssocID="{30FAAC02-B6FB-431B-A97B-6C3E77A556C2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etwork diagram with solid fill"/>
        </a:ext>
      </dgm:extLst>
    </dgm:pt>
    <dgm:pt modelId="{D238075D-463D-4777-9E3E-50B2AFF975EF}" type="pres">
      <dgm:prSet presAssocID="{30FAAC02-B6FB-431B-A97B-6C3E77A556C2}" presName="spaceRect" presStyleCnt="0"/>
      <dgm:spPr/>
    </dgm:pt>
    <dgm:pt modelId="{F98C0F12-DC12-4540-B33D-E7D339FA783E}" type="pres">
      <dgm:prSet presAssocID="{30FAAC02-B6FB-431B-A97B-6C3E77A556C2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AF3A3713-EE34-431D-95BA-AD0D15B02694}" srcId="{BB14D194-DB80-4B52-A035-88F9D3C4A204}" destId="{1DC83198-D99F-4C87-A6F1-1B7892604847}" srcOrd="1" destOrd="0" parTransId="{64329C0F-EE95-4759-8131-3002E645CF6B}" sibTransId="{ED3B1635-C36A-460C-A97D-8E90ADFCB9B0}"/>
    <dgm:cxn modelId="{0894A415-63EC-471E-9EE4-21C7C5B0CC5A}" type="presOf" srcId="{3F8918F2-EC93-49F9-9E5C-21D646BC9EAE}" destId="{2A031B6B-28EB-42C5-B620-DCE8BCEFFB57}" srcOrd="0" destOrd="0" presId="urn:microsoft.com/office/officeart/2018/2/layout/IconLabelList"/>
    <dgm:cxn modelId="{F62AAC1B-2DA9-4E80-B69B-A1A8C254C1E8}" type="presOf" srcId="{09D99690-C094-47E1-908D-A4471AC221FE}" destId="{D059EA23-4C5C-402A-9B8B-023549AC5448}" srcOrd="0" destOrd="0" presId="urn:microsoft.com/office/officeart/2018/2/layout/IconLabelList"/>
    <dgm:cxn modelId="{4EAE4524-FE2A-4140-BA68-88F0DFC88E14}" type="presOf" srcId="{BB14D194-DB80-4B52-A035-88F9D3C4A204}" destId="{C5026318-41BE-4A35-9B17-ED075DB8F54D}" srcOrd="0" destOrd="0" presId="urn:microsoft.com/office/officeart/2018/2/layout/IconLabelList"/>
    <dgm:cxn modelId="{C77C513F-5F04-44DD-A4B9-DA608BD7C9BE}" srcId="{BB14D194-DB80-4B52-A035-88F9D3C4A204}" destId="{44C8B962-0117-4B81-8C9D-F8FD85815CCB}" srcOrd="0" destOrd="0" parTransId="{A33A51BD-05B1-4C2C-8C4E-F9E792758AB0}" sibTransId="{56BFD67A-D06A-4679-A509-39A445D9D436}"/>
    <dgm:cxn modelId="{07D95B42-7013-4726-8DA0-5BB9BDD3B697}" type="presOf" srcId="{30FAAC02-B6FB-431B-A97B-6C3E77A556C2}" destId="{F98C0F12-DC12-4540-B33D-E7D339FA783E}" srcOrd="0" destOrd="0" presId="urn:microsoft.com/office/officeart/2018/2/layout/IconLabelList"/>
    <dgm:cxn modelId="{51C17768-7438-4D48-96F9-29AE50C59B90}" srcId="{BB14D194-DB80-4B52-A035-88F9D3C4A204}" destId="{3F8918F2-EC93-49F9-9E5C-21D646BC9EAE}" srcOrd="2" destOrd="0" parTransId="{6EE8C542-2E49-401C-B7F3-8B1A706ECEA2}" sibTransId="{3B7CBDFE-6C59-4873-A4E8-6AA929FDFAFB}"/>
    <dgm:cxn modelId="{601A5E6F-FCA7-4B51-83F8-31A04B836168}" type="presOf" srcId="{1DC83198-D99F-4C87-A6F1-1B7892604847}" destId="{BD114BC0-1BEF-4DF0-8EAB-560370A60477}" srcOrd="0" destOrd="0" presId="urn:microsoft.com/office/officeart/2018/2/layout/IconLabelList"/>
    <dgm:cxn modelId="{E2A220BB-2FE9-48F1-A1CD-5E53B7B78B16}" type="presOf" srcId="{44C8B962-0117-4B81-8C9D-F8FD85815CCB}" destId="{000371DD-AD4B-4175-8179-FE9C9D5159BE}" srcOrd="0" destOrd="0" presId="urn:microsoft.com/office/officeart/2018/2/layout/IconLabelList"/>
    <dgm:cxn modelId="{567AFDEA-4558-4CD3-9E6C-B59C95B2F5AB}" srcId="{BB14D194-DB80-4B52-A035-88F9D3C4A204}" destId="{30FAAC02-B6FB-431B-A97B-6C3E77A556C2}" srcOrd="4" destOrd="0" parTransId="{3EDDE982-6A32-4B2A-8F6C-C09C5C61980F}" sibTransId="{CC3B1BFA-26CC-42BF-ACD3-7B52B65EA253}"/>
    <dgm:cxn modelId="{B3648AF5-9F17-44B2-9986-721EC1426D4F}" srcId="{BB14D194-DB80-4B52-A035-88F9D3C4A204}" destId="{09D99690-C094-47E1-908D-A4471AC221FE}" srcOrd="3" destOrd="0" parTransId="{E2B79535-034E-4D2A-AD09-7CB4E191D774}" sibTransId="{89D1D70D-43FD-4B08-97BC-D74EFEDA3CE7}"/>
    <dgm:cxn modelId="{32B74FE9-AE33-4A94-BECC-8B63C0DF588C}" type="presParOf" srcId="{C5026318-41BE-4A35-9B17-ED075DB8F54D}" destId="{E9DFD22D-414B-4C88-970B-FD6C6F5DA485}" srcOrd="0" destOrd="0" presId="urn:microsoft.com/office/officeart/2018/2/layout/IconLabelList"/>
    <dgm:cxn modelId="{5B92F587-787A-41A6-9AD2-43F147EEB4E2}" type="presParOf" srcId="{E9DFD22D-414B-4C88-970B-FD6C6F5DA485}" destId="{A0BC70D4-0BE0-4D14-B250-18BC58B890EA}" srcOrd="0" destOrd="0" presId="urn:microsoft.com/office/officeart/2018/2/layout/IconLabelList"/>
    <dgm:cxn modelId="{B2011D8F-0337-4E95-AA72-36CA3015C23D}" type="presParOf" srcId="{E9DFD22D-414B-4C88-970B-FD6C6F5DA485}" destId="{B987C599-B650-4F34-AA71-D8903753DC4D}" srcOrd="1" destOrd="0" presId="urn:microsoft.com/office/officeart/2018/2/layout/IconLabelList"/>
    <dgm:cxn modelId="{18FC2DAC-EBA5-4C9C-8DDE-A81F1EB2D2DF}" type="presParOf" srcId="{E9DFD22D-414B-4C88-970B-FD6C6F5DA485}" destId="{000371DD-AD4B-4175-8179-FE9C9D5159BE}" srcOrd="2" destOrd="0" presId="urn:microsoft.com/office/officeart/2018/2/layout/IconLabelList"/>
    <dgm:cxn modelId="{234E3F30-371D-4B9E-82E3-48C3F1006178}" type="presParOf" srcId="{C5026318-41BE-4A35-9B17-ED075DB8F54D}" destId="{CC1D353E-9858-4205-8CFD-F0D5680BD948}" srcOrd="1" destOrd="0" presId="urn:microsoft.com/office/officeart/2018/2/layout/IconLabelList"/>
    <dgm:cxn modelId="{50B8270E-D480-494B-9F5C-244F85BD2572}" type="presParOf" srcId="{C5026318-41BE-4A35-9B17-ED075DB8F54D}" destId="{23171416-D5ED-49BC-9D85-BB8466DC90DE}" srcOrd="2" destOrd="0" presId="urn:microsoft.com/office/officeart/2018/2/layout/IconLabelList"/>
    <dgm:cxn modelId="{8315A46D-2283-40B9-BB32-2496AA6BFBE3}" type="presParOf" srcId="{23171416-D5ED-49BC-9D85-BB8466DC90DE}" destId="{4A0DA22E-802C-49B0-9E53-82F8B32F567E}" srcOrd="0" destOrd="0" presId="urn:microsoft.com/office/officeart/2018/2/layout/IconLabelList"/>
    <dgm:cxn modelId="{589B3277-FA73-4E1F-B6DD-C5E9AC566E5A}" type="presParOf" srcId="{23171416-D5ED-49BC-9D85-BB8466DC90DE}" destId="{7F68364C-B724-4BA7-BE1A-EC770F65ABD6}" srcOrd="1" destOrd="0" presId="urn:microsoft.com/office/officeart/2018/2/layout/IconLabelList"/>
    <dgm:cxn modelId="{DBCBD265-3704-4B7D-8889-BCAA6EFD22F4}" type="presParOf" srcId="{23171416-D5ED-49BC-9D85-BB8466DC90DE}" destId="{BD114BC0-1BEF-4DF0-8EAB-560370A60477}" srcOrd="2" destOrd="0" presId="urn:microsoft.com/office/officeart/2018/2/layout/IconLabelList"/>
    <dgm:cxn modelId="{B4962B27-C5F4-434B-B106-08D4DD4320A7}" type="presParOf" srcId="{C5026318-41BE-4A35-9B17-ED075DB8F54D}" destId="{D5A1798E-C103-4FC2-A1D5-2368709CDD64}" srcOrd="3" destOrd="0" presId="urn:microsoft.com/office/officeart/2018/2/layout/IconLabelList"/>
    <dgm:cxn modelId="{605BDC21-3A7C-4BF8-A9C6-40DBB4E14963}" type="presParOf" srcId="{C5026318-41BE-4A35-9B17-ED075DB8F54D}" destId="{7E7FBA07-FD03-4EE2-930B-F2CED1D3D6C3}" srcOrd="4" destOrd="0" presId="urn:microsoft.com/office/officeart/2018/2/layout/IconLabelList"/>
    <dgm:cxn modelId="{BC379D3B-3B74-462A-B20B-1D210C3EB7AF}" type="presParOf" srcId="{7E7FBA07-FD03-4EE2-930B-F2CED1D3D6C3}" destId="{6E4A54E5-E061-4BD6-9309-67795D68E4A8}" srcOrd="0" destOrd="0" presId="urn:microsoft.com/office/officeart/2018/2/layout/IconLabelList"/>
    <dgm:cxn modelId="{D8272FD6-2221-4D84-AD93-D50C47E20B7F}" type="presParOf" srcId="{7E7FBA07-FD03-4EE2-930B-F2CED1D3D6C3}" destId="{5336E62D-2504-4B9A-97AB-BF3E7EAEAFB3}" srcOrd="1" destOrd="0" presId="urn:microsoft.com/office/officeart/2018/2/layout/IconLabelList"/>
    <dgm:cxn modelId="{72753F1C-BA14-4385-8796-783814BE39A3}" type="presParOf" srcId="{7E7FBA07-FD03-4EE2-930B-F2CED1D3D6C3}" destId="{2A031B6B-28EB-42C5-B620-DCE8BCEFFB57}" srcOrd="2" destOrd="0" presId="urn:microsoft.com/office/officeart/2018/2/layout/IconLabelList"/>
    <dgm:cxn modelId="{897C5F77-F7E1-4D0A-9A35-5E4BB0E44506}" type="presParOf" srcId="{C5026318-41BE-4A35-9B17-ED075DB8F54D}" destId="{6BEEDE60-5F6C-4424-A602-34B7D1933FCE}" srcOrd="5" destOrd="0" presId="urn:microsoft.com/office/officeart/2018/2/layout/IconLabelList"/>
    <dgm:cxn modelId="{964FF9BF-9DDF-4A30-BFB2-ACFAEC01DD2C}" type="presParOf" srcId="{C5026318-41BE-4A35-9B17-ED075DB8F54D}" destId="{E970D496-7D74-411A-8621-0E6625FAFF34}" srcOrd="6" destOrd="0" presId="urn:microsoft.com/office/officeart/2018/2/layout/IconLabelList"/>
    <dgm:cxn modelId="{FAC6E716-48E4-4558-BE49-F4F4A097D567}" type="presParOf" srcId="{E970D496-7D74-411A-8621-0E6625FAFF34}" destId="{802CD0D7-A474-4267-80B9-188E3FCDB505}" srcOrd="0" destOrd="0" presId="urn:microsoft.com/office/officeart/2018/2/layout/IconLabelList"/>
    <dgm:cxn modelId="{553B90C1-FE76-46B8-A1EC-1116FDC1606D}" type="presParOf" srcId="{E970D496-7D74-411A-8621-0E6625FAFF34}" destId="{8DB811D2-D1C6-46A9-B8EA-A04FA425407F}" srcOrd="1" destOrd="0" presId="urn:microsoft.com/office/officeart/2018/2/layout/IconLabelList"/>
    <dgm:cxn modelId="{51F519F0-8FFB-4BEA-A831-AA9C0A44041C}" type="presParOf" srcId="{E970D496-7D74-411A-8621-0E6625FAFF34}" destId="{D059EA23-4C5C-402A-9B8B-023549AC5448}" srcOrd="2" destOrd="0" presId="urn:microsoft.com/office/officeart/2018/2/layout/IconLabelList"/>
    <dgm:cxn modelId="{B72D58E7-98F1-4D0E-8ED0-2B37908FBC05}" type="presParOf" srcId="{C5026318-41BE-4A35-9B17-ED075DB8F54D}" destId="{1B98DFA0-364F-4FF5-930E-FAE4409B958E}" srcOrd="7" destOrd="0" presId="urn:microsoft.com/office/officeart/2018/2/layout/IconLabelList"/>
    <dgm:cxn modelId="{B2A4967A-6398-4007-BA2C-ED8E1F560394}" type="presParOf" srcId="{C5026318-41BE-4A35-9B17-ED075DB8F54D}" destId="{9406F87A-E1C0-4086-A2F8-13FFA8F38B13}" srcOrd="8" destOrd="0" presId="urn:microsoft.com/office/officeart/2018/2/layout/IconLabelList"/>
    <dgm:cxn modelId="{C0F73730-D0F6-41F9-92CB-61830214E2A4}" type="presParOf" srcId="{9406F87A-E1C0-4086-A2F8-13FFA8F38B13}" destId="{508281C8-B35F-4DA1-B804-54E9CB48B4DD}" srcOrd="0" destOrd="0" presId="urn:microsoft.com/office/officeart/2018/2/layout/IconLabelList"/>
    <dgm:cxn modelId="{71AD6B1A-BDB3-4806-AAC9-CE2C5C17670F}" type="presParOf" srcId="{9406F87A-E1C0-4086-A2F8-13FFA8F38B13}" destId="{D238075D-463D-4777-9E3E-50B2AFF975EF}" srcOrd="1" destOrd="0" presId="urn:microsoft.com/office/officeart/2018/2/layout/IconLabelList"/>
    <dgm:cxn modelId="{CFBF8277-CAFD-4B51-BCC3-B915F0FC25AA}" type="presParOf" srcId="{9406F87A-E1C0-4086-A2F8-13FFA8F38B13}" destId="{F98C0F12-DC12-4540-B33D-E7D339FA783E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BC70D4-0BE0-4D14-B250-18BC58B890EA}">
      <dsp:nvSpPr>
        <dsp:cNvPr id="0" name=""/>
        <dsp:cNvSpPr/>
      </dsp:nvSpPr>
      <dsp:spPr>
        <a:xfrm>
          <a:off x="764531" y="471665"/>
          <a:ext cx="810000" cy="81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0371DD-AD4B-4175-8179-FE9C9D5159BE}">
      <dsp:nvSpPr>
        <dsp:cNvPr id="0" name=""/>
        <dsp:cNvSpPr/>
      </dsp:nvSpPr>
      <dsp:spPr>
        <a:xfrm>
          <a:off x="269531" y="1551716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 dirty="0"/>
            <a:t>40% of UK SMEs cite </a:t>
          </a:r>
          <a:r>
            <a:rPr lang="en-GB" sz="1100" b="1" kern="1200" dirty="0"/>
            <a:t>manual admin </a:t>
          </a:r>
          <a:r>
            <a:rPr lang="en-GB" sz="1100" b="0" kern="1200" dirty="0"/>
            <a:t>as their #1 barrier to growth</a:t>
          </a:r>
          <a:endParaRPr lang="en-US" sz="1100" b="0" kern="1200" dirty="0"/>
        </a:p>
      </dsp:txBody>
      <dsp:txXfrm>
        <a:off x="269531" y="1551716"/>
        <a:ext cx="1800000" cy="720000"/>
      </dsp:txXfrm>
    </dsp:sp>
    <dsp:sp modelId="{4A0DA22E-802C-49B0-9E53-82F8B32F567E}">
      <dsp:nvSpPr>
        <dsp:cNvPr id="0" name=""/>
        <dsp:cNvSpPr/>
      </dsp:nvSpPr>
      <dsp:spPr>
        <a:xfrm>
          <a:off x="2879531" y="471665"/>
          <a:ext cx="810000" cy="81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114BC0-1BEF-4DF0-8EAB-560370A60477}">
      <dsp:nvSpPr>
        <dsp:cNvPr id="0" name=""/>
        <dsp:cNvSpPr/>
      </dsp:nvSpPr>
      <dsp:spPr>
        <a:xfrm>
          <a:off x="2384531" y="1551716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 dirty="0"/>
            <a:t>Hidden costs</a:t>
          </a:r>
          <a:r>
            <a:rPr lang="en-GB" sz="1100" kern="1200" dirty="0"/>
            <a:t> pile up — storage, errors, delays, lost revenue.</a:t>
          </a:r>
          <a:endParaRPr lang="en-US" sz="1100" kern="1200" dirty="0"/>
        </a:p>
      </dsp:txBody>
      <dsp:txXfrm>
        <a:off x="2384531" y="1551716"/>
        <a:ext cx="1800000" cy="720000"/>
      </dsp:txXfrm>
    </dsp:sp>
    <dsp:sp modelId="{6E4A54E5-E061-4BD6-9309-67795D68E4A8}">
      <dsp:nvSpPr>
        <dsp:cNvPr id="0" name=""/>
        <dsp:cNvSpPr/>
      </dsp:nvSpPr>
      <dsp:spPr>
        <a:xfrm>
          <a:off x="4994531" y="471665"/>
          <a:ext cx="810000" cy="81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031B6B-28EB-42C5-B620-DCE8BCEFFB57}">
      <dsp:nvSpPr>
        <dsp:cNvPr id="0" name=""/>
        <dsp:cNvSpPr/>
      </dsp:nvSpPr>
      <dsp:spPr>
        <a:xfrm>
          <a:off x="4499531" y="1551716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 dirty="0"/>
            <a:t>The average </a:t>
          </a:r>
          <a:r>
            <a:rPr lang="en-GB" sz="1100" b="1" kern="1200" dirty="0"/>
            <a:t>SME employee wastes 6+ hours/week </a:t>
          </a:r>
          <a:r>
            <a:rPr lang="en-GB" sz="1100" b="0" kern="1200" dirty="0"/>
            <a:t>on avoidable tasks</a:t>
          </a:r>
          <a:endParaRPr lang="en-US" sz="1100" b="0" kern="1200" dirty="0"/>
        </a:p>
      </dsp:txBody>
      <dsp:txXfrm>
        <a:off x="4499531" y="1551716"/>
        <a:ext cx="1800000" cy="720000"/>
      </dsp:txXfrm>
    </dsp:sp>
    <dsp:sp modelId="{802CD0D7-A474-4267-80B9-188E3FCDB505}">
      <dsp:nvSpPr>
        <dsp:cNvPr id="0" name=""/>
        <dsp:cNvSpPr/>
      </dsp:nvSpPr>
      <dsp:spPr>
        <a:xfrm>
          <a:off x="7109531" y="471665"/>
          <a:ext cx="810000" cy="81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59EA23-4C5C-402A-9B8B-023549AC5448}">
      <dsp:nvSpPr>
        <dsp:cNvPr id="0" name=""/>
        <dsp:cNvSpPr/>
      </dsp:nvSpPr>
      <dsp:spPr>
        <a:xfrm>
          <a:off x="6614531" y="1551716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Inefficient customer journey </a:t>
          </a:r>
          <a:r>
            <a:rPr lang="en-US" sz="1100" kern="1200" dirty="0"/>
            <a:t>– bookings, enquiries, or sales processes are inefficient</a:t>
          </a:r>
        </a:p>
      </dsp:txBody>
      <dsp:txXfrm>
        <a:off x="6614531" y="1551716"/>
        <a:ext cx="1800000" cy="720000"/>
      </dsp:txXfrm>
    </dsp:sp>
    <dsp:sp modelId="{508281C8-B35F-4DA1-B804-54E9CB48B4DD}">
      <dsp:nvSpPr>
        <dsp:cNvPr id="0" name=""/>
        <dsp:cNvSpPr/>
      </dsp:nvSpPr>
      <dsp:spPr>
        <a:xfrm>
          <a:off x="9224531" y="471665"/>
          <a:ext cx="810000" cy="81000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8C0F12-DC12-4540-B33D-E7D339FA783E}">
      <dsp:nvSpPr>
        <dsp:cNvPr id="0" name=""/>
        <dsp:cNvSpPr/>
      </dsp:nvSpPr>
      <dsp:spPr>
        <a:xfrm>
          <a:off x="8729531" y="1551716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Siloed systems </a:t>
          </a:r>
          <a:r>
            <a:rPr lang="en-US" sz="1100" kern="1200" dirty="0"/>
            <a:t>– tools don’t talk to each other, causing duplication, rework and errors  </a:t>
          </a:r>
        </a:p>
      </dsp:txBody>
      <dsp:txXfrm>
        <a:off x="8729531" y="1551716"/>
        <a:ext cx="1800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C3F28A-7CAA-4997-8544-A409F642225A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848E7C-B2C5-462C-8FB7-A8B4A8B976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055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C5DFC-2F0A-91DD-BD17-145DE545C2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C07D3B-741A-A0FF-3829-CF380936E9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E1F05-DDB1-9EA1-50C5-07B4A7ECA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DF72E8-48A6-5536-83BB-2F5F930F8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CFE771-D1CB-6F06-2AF6-5A7A3D6A8D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3686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2349C-65FD-B2A9-FE1D-4D9954361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0A8AFE-53D0-4EC6-4EF8-ED5AB904EF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385A7-2E04-3B9F-5066-B78EAFE01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5DC9BD-C65F-5DBE-124B-DDF43870B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D3F6AB-4A71-52DE-7F39-97EE68201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5231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7DC4F4-E123-1F76-80B2-95518EEF7E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100770-FE80-7CFF-CD97-374648CA28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214657-AB93-C5E5-6A8C-C6012C8FC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37419-F2F1-2082-5965-298A2F825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A423A3-CFD4-C5D9-3486-796B792D8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571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8130D-C8EF-FE9F-01AF-DA1571351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78260-45FB-D0C2-152B-F814414616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9C108-5112-3385-B7CE-DC45A1817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31731-5324-EF02-E3DE-B18EF4855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314C1-9D5B-B793-3C05-6EB4A6FC7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978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13F97-4B2E-5223-6B7A-9AD8A3BE2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D0278-75CC-9FE2-4AEE-0D2C614E7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A67F34-2958-3017-A609-FBAA40424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2FE2A-C06E-BF88-A43E-88CDA9EBE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FC5583-29AF-4B54-CB5D-4936A3717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075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D3FB5-4F34-4EBD-B27C-2AE530FF8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4A855E-C487-C1BE-A8DD-EE04079BC2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AF02ED-8B57-15E7-3913-A2E0B68E7F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CA843-259B-A359-3D5D-7E09A7B8E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E74CC0-1972-A540-B2EF-5450D5061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B17C9A-B77D-7721-0854-B23A95A64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0889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774AA-F927-B222-F8D4-6FF9116F4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EF1543-EF02-2DBB-6BE5-1F7D70DFA1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E86A91-620D-572C-49CB-CA881B8955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F2FFBC-32FC-5A1B-E82B-178C96A296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AD2439-618A-53DF-C0DD-4EC0AD01CB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19B728-283E-6D24-231B-C82D7E75D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7643DF-9AD7-212C-0849-AF5709FE0C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BCA18-0E9A-EB93-794E-FE6757631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0181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C74FE-E9A5-3007-3BE8-A5B554F11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2764BE-D0EA-C241-3C7A-712B7E300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41CF0-3A72-53BC-A8D9-8A9A2EEF8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CA963C-EBA7-1D52-F1C2-42A7B1C72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60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01C4B3-3511-A84B-0059-2363B9667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36293-FB8E-929A-7952-BE4DAD355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AFA035-F6DD-5F1A-654E-4C33A10E3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8404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FC91B-700F-6DD5-CE96-AB15E51D94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982429-D604-0281-DD6D-7795DAD42B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458E41-6002-B443-2C9E-2896ECFF94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D543C3-3EAD-BA15-D73E-1FBAB7CC3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F6E907-8C26-D0E9-5457-3DA23761B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AD8107-6506-8FB3-F200-FBDCAB5FD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990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CA290-5344-68B4-ADFB-479097054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D825782-6A1B-70B7-27D8-36E283C968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7EE55-5305-6DE1-23E3-12A26D60DB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18259F-BE45-B798-6C74-AB0257576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8E6D2C-C644-1BE5-993F-B22F0EF88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BB5B9A-25C7-11F3-4ED2-89D0068E5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2401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AC0473-25C6-FC06-30F9-86B7FF1B9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8816EE-11B4-0C5E-84E6-EA5AFDEC35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AFE879-B0A1-84D9-3A40-7784CEC9D5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51AD962-FE26-4066-AD7A-BAA1426A0A81}" type="datetimeFigureOut">
              <a:rPr lang="en-GB" smtClean="0"/>
              <a:t>01/10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12513F-ED41-D00D-13DD-1C29E554E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72DD-2E71-AA72-15C0-7BE99BFDC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CADB99C-FD5F-443C-8126-60A8D29641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tags" Target="../tags/tag3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image" Target="../media/image22.svg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5.xml"/><Relationship Id="rId15" Type="http://schemas.openxmlformats.org/officeDocument/2006/relationships/image" Target="../media/image21.png"/><Relationship Id="rId10" Type="http://schemas.openxmlformats.org/officeDocument/2006/relationships/image" Target="../media/image16.svg"/><Relationship Id="rId4" Type="http://schemas.openxmlformats.org/officeDocument/2006/relationships/tags" Target="../tags/tag4.xml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9.png"/><Relationship Id="rId7" Type="http://schemas.openxmlformats.org/officeDocument/2006/relationships/image" Target="../media/image3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10" Type="http://schemas.openxmlformats.org/officeDocument/2006/relationships/image" Target="../media/image34.svg"/><Relationship Id="rId4" Type="http://schemas.openxmlformats.org/officeDocument/2006/relationships/image" Target="../media/image30.sv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999735-6DB2-662D-2938-A0252720A7A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1570182" y="2479357"/>
            <a:ext cx="4886036" cy="1630825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3C64671-7F86-F3EF-4B42-A57B758D1402}"/>
              </a:ext>
            </a:extLst>
          </p:cNvPr>
          <p:cNvSpPr txBox="1">
            <a:spLocks/>
          </p:cNvSpPr>
          <p:nvPr/>
        </p:nvSpPr>
        <p:spPr>
          <a:xfrm>
            <a:off x="1498758" y="5127105"/>
            <a:ext cx="9144000" cy="11730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70000"/>
              </a:lnSpc>
            </a:pPr>
            <a:r>
              <a:rPr lang="en-GB" dirty="0">
                <a:latin typeface="+mj-lt"/>
              </a:rPr>
              <a:t>Solutions that cut wasted time, reduce costs, and scale your business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1AFA1C-EE1E-8DCD-3292-CAE630D2CD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98758" y="4378643"/>
            <a:ext cx="9144000" cy="548640"/>
          </a:xfrm>
        </p:spPr>
        <p:txBody>
          <a:bodyPr>
            <a:normAutofit/>
          </a:bodyPr>
          <a:lstStyle/>
          <a:p>
            <a:pPr algn="l"/>
            <a:r>
              <a:rPr lang="en-GB" b="1" dirty="0">
                <a:latin typeface="+mj-lt"/>
              </a:rPr>
              <a:t>High-impact automatio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4E82EC-35A5-D11F-5733-83CDA1811783}"/>
              </a:ext>
            </a:extLst>
          </p:cNvPr>
          <p:cNvSpPr txBox="1"/>
          <p:nvPr/>
        </p:nvSpPr>
        <p:spPr>
          <a:xfrm>
            <a:off x="8430768" y="649224"/>
            <a:ext cx="33933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NEEDS A DESIGN SCHEME</a:t>
            </a:r>
          </a:p>
          <a:p>
            <a:r>
              <a:rPr lang="en-GB" dirty="0">
                <a:highlight>
                  <a:srgbClr val="FFFF00"/>
                </a:highlight>
              </a:rPr>
              <a:t>KEEPING IT AS WHITE FOR NOW</a:t>
            </a:r>
          </a:p>
          <a:p>
            <a:r>
              <a:rPr lang="en-GB" dirty="0">
                <a:highlight>
                  <a:srgbClr val="FFFF00"/>
                </a:highlight>
              </a:rPr>
              <a:t>WILL LOOK AT CANV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8FC550-8AD2-078E-9A38-5415602FC302}"/>
              </a:ext>
            </a:extLst>
          </p:cNvPr>
          <p:cNvSpPr txBox="1"/>
          <p:nvPr/>
        </p:nvSpPr>
        <p:spPr>
          <a:xfrm>
            <a:off x="135128" y="2479357"/>
            <a:ext cx="14350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LOGO AND NAME AS PLACEHOLDERS</a:t>
            </a:r>
          </a:p>
        </p:txBody>
      </p:sp>
    </p:spTree>
    <p:extLst>
      <p:ext uri="{BB962C8B-B14F-4D97-AF65-F5344CB8AC3E}">
        <p14:creationId xmlns:p14="http://schemas.microsoft.com/office/powerpoint/2010/main" val="289828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45A576B1-96F0-8DE9-F890-6D35BAB5B575}"/>
              </a:ext>
            </a:extLst>
          </p:cNvPr>
          <p:cNvSpPr/>
          <p:nvPr/>
        </p:nvSpPr>
        <p:spPr>
          <a:xfrm>
            <a:off x="-8" y="5655086"/>
            <a:ext cx="12191999" cy="120291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2DAD88-B5E8-3BCC-2D97-410FCBDB0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The Problem</a:t>
            </a:r>
            <a:endParaRPr lang="en-GB" b="1" dirty="0"/>
          </a:p>
        </p:txBody>
      </p:sp>
      <p:graphicFrame>
        <p:nvGraphicFramePr>
          <p:cNvPr id="81" name="Content Placeholder 78">
            <a:extLst>
              <a:ext uri="{FF2B5EF4-FFF2-40B4-BE49-F238E27FC236}">
                <a16:creationId xmlns:a16="http://schemas.microsoft.com/office/drawing/2014/main" id="{08CC4833-1EE1-9D49-1FF9-DDEBF0EA06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44601098"/>
              </p:ext>
            </p:extLst>
          </p:nvPr>
        </p:nvGraphicFramePr>
        <p:xfrm>
          <a:off x="696459" y="2656667"/>
          <a:ext cx="10799063" cy="2743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AFF91A7-5AB6-000F-ABA2-FCE1D5306765}"/>
              </a:ext>
            </a:extLst>
          </p:cNvPr>
          <p:cNvSpPr txBox="1"/>
          <p:nvPr/>
        </p:nvSpPr>
        <p:spPr>
          <a:xfrm>
            <a:off x="7151459" y="5210202"/>
            <a:ext cx="49391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6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80% of automation ROI is realised in &lt;12 month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D4E7DF-7228-1AFA-45BE-83AFE504057E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9760076" y="6047298"/>
            <a:ext cx="2428875" cy="8106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E1FDD2C-FCB4-5DDE-FE63-6614CA6A22F7}"/>
              </a:ext>
            </a:extLst>
          </p:cNvPr>
          <p:cNvSpPr txBox="1"/>
          <p:nvPr/>
        </p:nvSpPr>
        <p:spPr>
          <a:xfrm>
            <a:off x="838189" y="1722143"/>
            <a:ext cx="70896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anual processes, bottlenecks, and inefficiencies drain capacity, slow growth, and frustrate team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C6188B-03F2-6DA5-07C7-59FE835C17EA}"/>
              </a:ext>
            </a:extLst>
          </p:cNvPr>
          <p:cNvSpPr txBox="1"/>
          <p:nvPr/>
        </p:nvSpPr>
        <p:spPr>
          <a:xfrm>
            <a:off x="835150" y="6123543"/>
            <a:ext cx="84063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dgeLab</a:t>
            </a:r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cuts the waste and turns inefficiencies into productivity gai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6B078D-C1D2-938C-7245-16740515750B}"/>
              </a:ext>
            </a:extLst>
          </p:cNvPr>
          <p:cNvSpPr txBox="1"/>
          <p:nvPr/>
        </p:nvSpPr>
        <p:spPr>
          <a:xfrm>
            <a:off x="835150" y="2545894"/>
            <a:ext cx="61493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GB" b="1" dirty="0"/>
              <a:t>Common pain points experienced by UK companies:</a:t>
            </a:r>
            <a:endParaRPr lang="en-US" dirty="0"/>
          </a:p>
        </p:txBody>
      </p:sp>
      <p:pic>
        <p:nvPicPr>
          <p:cNvPr id="10" name="Picture 9" descr="Close up of metal cogs in lock">
            <a:extLst>
              <a:ext uri="{FF2B5EF4-FFF2-40B4-BE49-F238E27FC236}">
                <a16:creationId xmlns:a16="http://schemas.microsoft.com/office/drawing/2014/main" id="{4D9F1697-BCD7-0D8C-909B-012DE89B7D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96164" y="-201389"/>
            <a:ext cx="3291398" cy="3694175"/>
          </a:xfrm>
          <a:prstGeom prst="rect">
            <a:avLst/>
          </a:prstGeom>
          <a:effectLst>
            <a:softEdge rad="317500"/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672F96-838B-70F7-3E4E-D0CCC02C07E5}"/>
              </a:ext>
            </a:extLst>
          </p:cNvPr>
          <p:cNvCxnSpPr>
            <a:cxnSpLocks/>
          </p:cNvCxnSpPr>
          <p:nvPr/>
        </p:nvCxnSpPr>
        <p:spPr>
          <a:xfrm>
            <a:off x="835150" y="2355158"/>
            <a:ext cx="7092698" cy="1331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197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B688FB-DA2B-736A-76BA-1B82AF76C6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AEBF304B-873B-9EB6-93AA-C2FDEA216761}"/>
              </a:ext>
            </a:extLst>
          </p:cNvPr>
          <p:cNvSpPr/>
          <p:nvPr/>
        </p:nvSpPr>
        <p:spPr>
          <a:xfrm>
            <a:off x="-8" y="5643387"/>
            <a:ext cx="12191999" cy="1207857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3F6FF4-B221-2BC4-2826-806E38D0B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From Bottlenecks to Working Autom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CA92E8-43E0-EDFE-BA18-7EAEE402FD17}"/>
              </a:ext>
            </a:extLst>
          </p:cNvPr>
          <p:cNvSpPr txBox="1"/>
          <p:nvPr/>
        </p:nvSpPr>
        <p:spPr>
          <a:xfrm>
            <a:off x="838199" y="1759635"/>
            <a:ext cx="105155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“We diagnose. We design. We build. We optimise. We empower.”</a:t>
            </a:r>
          </a:p>
        </p:txBody>
      </p:sp>
      <p:sp>
        <p:nvSpPr>
          <p:cNvPr id="4" name="ee4pContent2">
            <a:extLst>
              <a:ext uri="{FF2B5EF4-FFF2-40B4-BE49-F238E27FC236}">
                <a16:creationId xmlns:a16="http://schemas.microsoft.com/office/drawing/2014/main" id="{10B08330-D572-4FE6-3AA4-8C900C33CCE1}"/>
              </a:ext>
            </a:extLst>
          </p:cNvPr>
          <p:cNvSpPr txBox="1"/>
          <p:nvPr/>
        </p:nvSpPr>
        <p:spPr>
          <a:xfrm>
            <a:off x="5080095" y="3435240"/>
            <a:ext cx="2038930" cy="1632603"/>
          </a:xfrm>
          <a:prstGeom prst="rect">
            <a:avLst/>
          </a:prstGeom>
          <a:solidFill>
            <a:schemeClr val="bg1"/>
          </a:solidFill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Deliver working solutions fas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7" name="ee4pContent3">
            <a:extLst>
              <a:ext uri="{FF2B5EF4-FFF2-40B4-BE49-F238E27FC236}">
                <a16:creationId xmlns:a16="http://schemas.microsoft.com/office/drawing/2014/main" id="{016DD008-AB53-6CF2-AFD6-0FD85DF97338}"/>
              </a:ext>
            </a:extLst>
          </p:cNvPr>
          <p:cNvSpPr txBox="1"/>
          <p:nvPr/>
        </p:nvSpPr>
        <p:spPr>
          <a:xfrm>
            <a:off x="7294788" y="3456432"/>
            <a:ext cx="2046056" cy="1632604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cale and Optimise</a:t>
            </a:r>
            <a:endParaRPr lang="en-US" sz="1600" b="1" dirty="0">
              <a:solidFill>
                <a:schemeClr val="tx2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sz="1600" b="1" i="1" dirty="0">
              <a:solidFill>
                <a:schemeClr val="tx2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8" name="ee4pContent4">
            <a:extLst>
              <a:ext uri="{FF2B5EF4-FFF2-40B4-BE49-F238E27FC236}">
                <a16:creationId xmlns:a16="http://schemas.microsoft.com/office/drawing/2014/main" id="{9AC7C9E4-8077-8E46-52C7-0AEDBEB57D9F}"/>
              </a:ext>
            </a:extLst>
          </p:cNvPr>
          <p:cNvSpPr txBox="1"/>
          <p:nvPr/>
        </p:nvSpPr>
        <p:spPr>
          <a:xfrm>
            <a:off x="9595534" y="3435241"/>
            <a:ext cx="1967137" cy="145679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Train your team to own i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AC8B29F7-1851-B1D5-4D11-9967CFD7CF45}"/>
              </a:ext>
            </a:extLst>
          </p:cNvPr>
          <p:cNvSpPr txBox="1"/>
          <p:nvPr/>
        </p:nvSpPr>
        <p:spPr>
          <a:xfrm>
            <a:off x="2851145" y="3435241"/>
            <a:ext cx="1974264" cy="1385640"/>
          </a:xfrm>
          <a:prstGeom prst="rect">
            <a:avLst/>
          </a:prstGeom>
          <a:solidFill>
            <a:schemeClr val="bg1"/>
          </a:solidFill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Build an automation roadmap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20B21348-51EA-D01E-19DA-F2DC2E9B903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29322" y="2582460"/>
            <a:ext cx="2046056" cy="717524"/>
          </a:xfrm>
          <a:prstGeom prst="homePlate">
            <a:avLst>
              <a:gd name="adj" fmla="val 12004"/>
            </a:avLst>
          </a:prstGeom>
          <a:solidFill>
            <a:schemeClr val="accent1">
              <a:lumMod val="20000"/>
              <a:lumOff val="80000"/>
            </a:scheme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latin typeface="Arial" panose="020B0604020202020204" pitchFamily="34" charset="0"/>
              </a:rPr>
              <a:t>Discover inefficiencies</a:t>
            </a:r>
          </a:p>
        </p:txBody>
      </p:sp>
      <p:sp>
        <p:nvSpPr>
          <p:cNvPr id="11" name="ee4pHeader2">
            <a:extLst>
              <a:ext uri="{FF2B5EF4-FFF2-40B4-BE49-F238E27FC236}">
                <a16:creationId xmlns:a16="http://schemas.microsoft.com/office/drawing/2014/main" id="{040E24CD-31C5-8A68-2725-201F1310D80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51145" y="2582460"/>
            <a:ext cx="2046056" cy="717524"/>
          </a:xfrm>
          <a:prstGeom prst="chevron">
            <a:avLst>
              <a:gd name="adj" fmla="val 12004"/>
            </a:avLst>
          </a:prstGeom>
          <a:solidFill>
            <a:schemeClr val="accent1">
              <a:lumMod val="20000"/>
              <a:lumOff val="80000"/>
            </a:scheme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b="1" dirty="0">
                <a:sym typeface="Trebuchet MS" panose="020B0603020202020204" pitchFamily="34" charset="0"/>
              </a:rPr>
              <a:t>Roadmap</a:t>
            </a:r>
          </a:p>
        </p:txBody>
      </p:sp>
      <p:sp>
        <p:nvSpPr>
          <p:cNvPr id="12" name="ee4pHeader2">
            <a:extLst>
              <a:ext uri="{FF2B5EF4-FFF2-40B4-BE49-F238E27FC236}">
                <a16:creationId xmlns:a16="http://schemas.microsoft.com/office/drawing/2014/main" id="{A7838E46-A05A-C18B-B1BA-70658F314DA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072969" y="2582460"/>
            <a:ext cx="2046056" cy="717524"/>
          </a:xfrm>
          <a:prstGeom prst="chevron">
            <a:avLst>
              <a:gd name="adj" fmla="val 12004"/>
            </a:avLst>
          </a:prstGeom>
          <a:solidFill>
            <a:schemeClr val="accent1">
              <a:lumMod val="20000"/>
              <a:lumOff val="80000"/>
            </a:scheme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b="1" dirty="0">
                <a:sym typeface="Trebuchet MS" panose="020B0603020202020204" pitchFamily="34" charset="0"/>
              </a:rPr>
              <a:t>Build Fast</a:t>
            </a:r>
          </a:p>
        </p:txBody>
      </p:sp>
      <p:sp>
        <p:nvSpPr>
          <p:cNvPr id="13" name="ee4pHeader2">
            <a:extLst>
              <a:ext uri="{FF2B5EF4-FFF2-40B4-BE49-F238E27FC236}">
                <a16:creationId xmlns:a16="http://schemas.microsoft.com/office/drawing/2014/main" id="{03184AE1-786A-5279-048A-A2DF4B92D9B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294792" y="2582460"/>
            <a:ext cx="2046056" cy="717524"/>
          </a:xfrm>
          <a:prstGeom prst="chevron">
            <a:avLst>
              <a:gd name="adj" fmla="val 12004"/>
            </a:avLst>
          </a:prstGeom>
          <a:solidFill>
            <a:schemeClr val="accent1">
              <a:lumMod val="20000"/>
              <a:lumOff val="80000"/>
            </a:scheme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b="1" dirty="0">
                <a:sym typeface="Trebuchet MS" panose="020B0603020202020204" pitchFamily="34" charset="0"/>
              </a:rPr>
              <a:t>Scale Impact</a:t>
            </a:r>
          </a:p>
        </p:txBody>
      </p:sp>
      <p:sp>
        <p:nvSpPr>
          <p:cNvPr id="14" name="ee4pHeader2">
            <a:extLst>
              <a:ext uri="{FF2B5EF4-FFF2-40B4-BE49-F238E27FC236}">
                <a16:creationId xmlns:a16="http://schemas.microsoft.com/office/drawing/2014/main" id="{25F6BD92-8D17-06DB-1339-1589F4E6FBF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516615" y="2582460"/>
            <a:ext cx="2046056" cy="717524"/>
          </a:xfrm>
          <a:prstGeom prst="chevron">
            <a:avLst>
              <a:gd name="adj" fmla="val 12004"/>
            </a:avLst>
          </a:prstGeom>
          <a:solidFill>
            <a:schemeClr val="accent1">
              <a:lumMod val="20000"/>
              <a:lumOff val="80000"/>
            </a:schemeClr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b="1" dirty="0">
                <a:sym typeface="Trebuchet MS" panose="020B0603020202020204" pitchFamily="34" charset="0"/>
              </a:rPr>
              <a:t>Empower Teams</a:t>
            </a:r>
          </a:p>
        </p:txBody>
      </p:sp>
      <p:sp>
        <p:nvSpPr>
          <p:cNvPr id="26" name="Rectangle 1">
            <a:extLst>
              <a:ext uri="{FF2B5EF4-FFF2-40B4-BE49-F238E27FC236}">
                <a16:creationId xmlns:a16="http://schemas.microsoft.com/office/drawing/2014/main" id="{CEE77A8E-25F8-D4B5-FD39-9A0B08FBDA2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629320" y="5716113"/>
            <a:ext cx="204605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Pain point map + immediate action list.</a:t>
            </a:r>
            <a:endParaRPr kumimoji="0" lang="en-US" altLang="en-US" sz="14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1">
            <a:extLst>
              <a:ext uri="{FF2B5EF4-FFF2-40B4-BE49-F238E27FC236}">
                <a16:creationId xmlns:a16="http://schemas.microsoft.com/office/drawing/2014/main" id="{9E0FE1BA-27AB-427D-F425-6C795C4080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1143" y="5714445"/>
            <a:ext cx="204605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nvestment case with ROI.</a:t>
            </a:r>
            <a:endParaRPr lang="en-US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2526A297-3780-8B59-E204-56D421DA24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72965" y="5714445"/>
            <a:ext cx="2046057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Booking systems, invoicing, dashboards, AI copilots.</a:t>
            </a:r>
            <a:endParaRPr lang="en-US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1">
            <a:extLst>
              <a:ext uri="{FF2B5EF4-FFF2-40B4-BE49-F238E27FC236}">
                <a16:creationId xmlns:a16="http://schemas.microsoft.com/office/drawing/2014/main" id="{17E94FB9-9BEF-C37E-DDDE-CDBB92828F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4788" y="5668278"/>
            <a:ext cx="204605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Savings and productivity gains.</a:t>
            </a:r>
            <a:endParaRPr lang="en-US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F6A179E7-62C0-75A5-B43A-8702B5F161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6614" y="5668278"/>
            <a:ext cx="2046057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Workshops, training, toolkits</a:t>
            </a:r>
            <a:endParaRPr lang="en-US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0" name="Graphic 49" descr="Bar graph with upward trend with solid fill">
            <a:extLst>
              <a:ext uri="{FF2B5EF4-FFF2-40B4-BE49-F238E27FC236}">
                <a16:creationId xmlns:a16="http://schemas.microsoft.com/office/drawing/2014/main" id="{052A86D5-0138-004F-9F54-14AD33186B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09630" y="2349727"/>
            <a:ext cx="462066" cy="462066"/>
          </a:xfrm>
          <a:prstGeom prst="rect">
            <a:avLst/>
          </a:prstGeom>
        </p:spPr>
      </p:pic>
      <p:pic>
        <p:nvPicPr>
          <p:cNvPr id="52" name="Graphic 51" descr="Teacher with solid fill">
            <a:extLst>
              <a:ext uri="{FF2B5EF4-FFF2-40B4-BE49-F238E27FC236}">
                <a16:creationId xmlns:a16="http://schemas.microsoft.com/office/drawing/2014/main" id="{69CB9938-BEE1-9215-5482-9977434217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56914" y="2318128"/>
            <a:ext cx="538432" cy="538432"/>
          </a:xfrm>
          <a:prstGeom prst="rect">
            <a:avLst/>
          </a:prstGeom>
        </p:spPr>
      </p:pic>
      <p:pic>
        <p:nvPicPr>
          <p:cNvPr id="54" name="Graphic 53" descr="Train Tracks with solid fill">
            <a:extLst>
              <a:ext uri="{FF2B5EF4-FFF2-40B4-BE49-F238E27FC236}">
                <a16:creationId xmlns:a16="http://schemas.microsoft.com/office/drawing/2014/main" id="{E4D4374D-BE6E-15F4-87D2-EDF2073B7A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91443" y="2371945"/>
            <a:ext cx="484616" cy="484616"/>
          </a:xfrm>
          <a:prstGeom prst="rect">
            <a:avLst/>
          </a:prstGeom>
        </p:spPr>
      </p:pic>
      <p:pic>
        <p:nvPicPr>
          <p:cNvPr id="58" name="Graphic 57" descr="Rocket with solid fill">
            <a:extLst>
              <a:ext uri="{FF2B5EF4-FFF2-40B4-BE49-F238E27FC236}">
                <a16:creationId xmlns:a16="http://schemas.microsoft.com/office/drawing/2014/main" id="{59C8DB13-A127-9B21-3C52-DF61D137225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80095" y="2327177"/>
            <a:ext cx="484616" cy="484616"/>
          </a:xfrm>
          <a:prstGeom prst="rect">
            <a:avLst/>
          </a:prstGeom>
        </p:spPr>
      </p:pic>
      <p:pic>
        <p:nvPicPr>
          <p:cNvPr id="60" name="Graphic 59" descr="Magnifying glass with solid fill">
            <a:extLst>
              <a:ext uri="{FF2B5EF4-FFF2-40B4-BE49-F238E27FC236}">
                <a16:creationId xmlns:a16="http://schemas.microsoft.com/office/drawing/2014/main" id="{EEBADA48-227B-DCD4-EB79-7FC0E4BBC85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53554" y="2277028"/>
            <a:ext cx="484616" cy="484616"/>
          </a:xfrm>
          <a:prstGeom prst="rect">
            <a:avLst/>
          </a:prstGeom>
        </p:spPr>
      </p:pic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C4436A8-82BD-E205-C8A9-DAF75BAC7485}"/>
              </a:ext>
            </a:extLst>
          </p:cNvPr>
          <p:cNvCxnSpPr>
            <a:cxnSpLocks/>
          </p:cNvCxnSpPr>
          <p:nvPr/>
        </p:nvCxnSpPr>
        <p:spPr>
          <a:xfrm flipV="1">
            <a:off x="1652348" y="4820880"/>
            <a:ext cx="0" cy="847398"/>
          </a:xfrm>
          <a:prstGeom prst="line">
            <a:avLst/>
          </a:prstGeom>
          <a:ln w="34925" cap="rnd">
            <a:solidFill>
              <a:schemeClr val="tx2">
                <a:lumMod val="75000"/>
                <a:lumOff val="25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e4pContent1">
            <a:extLst>
              <a:ext uri="{FF2B5EF4-FFF2-40B4-BE49-F238E27FC236}">
                <a16:creationId xmlns:a16="http://schemas.microsoft.com/office/drawing/2014/main" id="{0214E45E-19A5-A995-503C-945771584F8C}"/>
              </a:ext>
            </a:extLst>
          </p:cNvPr>
          <p:cNvSpPr txBox="1"/>
          <p:nvPr/>
        </p:nvSpPr>
        <p:spPr>
          <a:xfrm>
            <a:off x="629322" y="3435241"/>
            <a:ext cx="2046056" cy="1196890"/>
          </a:xfrm>
          <a:prstGeom prst="rect">
            <a:avLst/>
          </a:prstGeom>
          <a:solidFill>
            <a:schemeClr val="bg1"/>
          </a:solidFill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Find wasted time, expose efficiencies &amp; bottlenecks.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2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141DE3D-109C-7C94-E6CC-A7885F8BBD35}"/>
              </a:ext>
            </a:extLst>
          </p:cNvPr>
          <p:cNvCxnSpPr>
            <a:cxnSpLocks/>
            <a:endCxn id="9" idx="2"/>
          </p:cNvCxnSpPr>
          <p:nvPr/>
        </p:nvCxnSpPr>
        <p:spPr>
          <a:xfrm flipH="1" flipV="1">
            <a:off x="3838277" y="4820881"/>
            <a:ext cx="1" cy="834205"/>
          </a:xfrm>
          <a:prstGeom prst="line">
            <a:avLst/>
          </a:prstGeom>
          <a:ln w="34925" cap="rnd">
            <a:solidFill>
              <a:schemeClr val="tx2">
                <a:lumMod val="75000"/>
                <a:lumOff val="25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21E7BCC-3CE3-DE6D-D27B-272F63F35B54}"/>
              </a:ext>
            </a:extLst>
          </p:cNvPr>
          <p:cNvCxnSpPr>
            <a:cxnSpLocks/>
          </p:cNvCxnSpPr>
          <p:nvPr/>
        </p:nvCxnSpPr>
        <p:spPr>
          <a:xfrm flipH="1" flipV="1">
            <a:off x="8317817" y="4820880"/>
            <a:ext cx="5089" cy="834206"/>
          </a:xfrm>
          <a:prstGeom prst="line">
            <a:avLst/>
          </a:prstGeom>
          <a:ln w="34925" cap="rnd">
            <a:solidFill>
              <a:schemeClr val="tx2">
                <a:lumMod val="75000"/>
                <a:lumOff val="25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0FD29FD-AE27-3DAE-70D1-7776B9A54515}"/>
              </a:ext>
            </a:extLst>
          </p:cNvPr>
          <p:cNvCxnSpPr>
            <a:cxnSpLocks/>
          </p:cNvCxnSpPr>
          <p:nvPr/>
        </p:nvCxnSpPr>
        <p:spPr>
          <a:xfrm flipV="1">
            <a:off x="10579103" y="4892040"/>
            <a:ext cx="0" cy="751347"/>
          </a:xfrm>
          <a:prstGeom prst="line">
            <a:avLst/>
          </a:prstGeom>
          <a:ln w="34925" cap="rnd">
            <a:solidFill>
              <a:schemeClr val="tx2">
                <a:lumMod val="75000"/>
                <a:lumOff val="25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D327121-E38E-5330-1D16-F610D36B7987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10095346" y="6159202"/>
            <a:ext cx="2093605" cy="698788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75529AF-BE87-8B7B-5A2C-836DFF8FB61A}"/>
              </a:ext>
            </a:extLst>
          </p:cNvPr>
          <p:cNvCxnSpPr>
            <a:cxnSpLocks/>
          </p:cNvCxnSpPr>
          <p:nvPr/>
        </p:nvCxnSpPr>
        <p:spPr>
          <a:xfrm>
            <a:off x="629320" y="2277028"/>
            <a:ext cx="1092512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e4pContent4">
            <a:extLst>
              <a:ext uri="{FF2B5EF4-FFF2-40B4-BE49-F238E27FC236}">
                <a16:creationId xmlns:a16="http://schemas.microsoft.com/office/drawing/2014/main" id="{C1099DDC-DDE6-BC2D-1AD5-D18EBD815EFC}"/>
              </a:ext>
            </a:extLst>
          </p:cNvPr>
          <p:cNvSpPr txBox="1"/>
          <p:nvPr/>
        </p:nvSpPr>
        <p:spPr>
          <a:xfrm>
            <a:off x="9660189" y="4057834"/>
            <a:ext cx="1967137" cy="57617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your team automation-ready, no consultant dependency.</a:t>
            </a: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21" name="ee4pContent4">
            <a:extLst>
              <a:ext uri="{FF2B5EF4-FFF2-40B4-BE49-F238E27FC236}">
                <a16:creationId xmlns:a16="http://schemas.microsoft.com/office/drawing/2014/main" id="{CE2ED3EA-42B7-8536-C647-665DD89CD6E9}"/>
              </a:ext>
            </a:extLst>
          </p:cNvPr>
          <p:cNvSpPr txBox="1"/>
          <p:nvPr/>
        </p:nvSpPr>
        <p:spPr>
          <a:xfrm>
            <a:off x="7391941" y="4060432"/>
            <a:ext cx="1967137" cy="57617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ROI, cut errors, expand impact.</a:t>
            </a:r>
            <a:endParaRPr lang="en-US" altLang="en-US" sz="16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22" name="ee4pContent4">
            <a:extLst>
              <a:ext uri="{FF2B5EF4-FFF2-40B4-BE49-F238E27FC236}">
                <a16:creationId xmlns:a16="http://schemas.microsoft.com/office/drawing/2014/main" id="{1F583B7B-47F5-02DA-421E-26EDEF0F765B}"/>
              </a:ext>
            </a:extLst>
          </p:cNvPr>
          <p:cNvSpPr txBox="1"/>
          <p:nvPr/>
        </p:nvSpPr>
        <p:spPr>
          <a:xfrm>
            <a:off x="5137615" y="4060432"/>
            <a:ext cx="1967137" cy="57617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systems in weeks, not months (booking, invoicing, dashboards, AI copilots). </a:t>
            </a: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23" name="ee4pContent4">
            <a:extLst>
              <a:ext uri="{FF2B5EF4-FFF2-40B4-BE49-F238E27FC236}">
                <a16:creationId xmlns:a16="http://schemas.microsoft.com/office/drawing/2014/main" id="{34828B5E-C855-F4FB-697E-E87C7B0D86FC}"/>
              </a:ext>
            </a:extLst>
          </p:cNvPr>
          <p:cNvSpPr txBox="1"/>
          <p:nvPr/>
        </p:nvSpPr>
        <p:spPr>
          <a:xfrm>
            <a:off x="2930062" y="4079348"/>
            <a:ext cx="1967137" cy="57617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p, prioritised roadmap: what to automate first, ROI case, where to start.</a:t>
            </a: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sp>
        <p:nvSpPr>
          <p:cNvPr id="24" name="ee4pContent4">
            <a:extLst>
              <a:ext uri="{FF2B5EF4-FFF2-40B4-BE49-F238E27FC236}">
                <a16:creationId xmlns:a16="http://schemas.microsoft.com/office/drawing/2014/main" id="{42DA4652-880C-8294-68E9-B6C27D63DE2A}"/>
              </a:ext>
            </a:extLst>
          </p:cNvPr>
          <p:cNvSpPr txBox="1"/>
          <p:nvPr/>
        </p:nvSpPr>
        <p:spPr>
          <a:xfrm>
            <a:off x="701104" y="4057834"/>
            <a:ext cx="1967137" cy="576172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e the inefficiencies. Quick wins in weeks.</a:t>
            </a:r>
          </a:p>
          <a:p>
            <a:endParaRPr lang="en-US" sz="1600" dirty="0">
              <a:latin typeface="+mn-lt"/>
            </a:endParaRPr>
          </a:p>
          <a:p>
            <a:endParaRPr lang="en-US" sz="1600" dirty="0">
              <a:latin typeface="+mn-lt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3EF89A5-0ACC-9FB8-51BF-66B891A4000E}"/>
              </a:ext>
            </a:extLst>
          </p:cNvPr>
          <p:cNvCxnSpPr>
            <a:cxnSpLocks/>
          </p:cNvCxnSpPr>
          <p:nvPr/>
        </p:nvCxnSpPr>
        <p:spPr>
          <a:xfrm flipH="1" flipV="1">
            <a:off x="6094470" y="4820880"/>
            <a:ext cx="5089" cy="822507"/>
          </a:xfrm>
          <a:prstGeom prst="line">
            <a:avLst/>
          </a:prstGeom>
          <a:ln w="34925" cap="rnd">
            <a:solidFill>
              <a:schemeClr val="tx2">
                <a:lumMod val="75000"/>
                <a:lumOff val="25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3635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B3675-0C56-DCD5-AC14-F6D9D7682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row: Pentagon 7">
            <a:extLst>
              <a:ext uri="{FF2B5EF4-FFF2-40B4-BE49-F238E27FC236}">
                <a16:creationId xmlns:a16="http://schemas.microsoft.com/office/drawing/2014/main" id="{0556CE8F-6A40-EACB-9683-D030AF3058FA}"/>
              </a:ext>
            </a:extLst>
          </p:cNvPr>
          <p:cNvSpPr/>
          <p:nvPr/>
        </p:nvSpPr>
        <p:spPr>
          <a:xfrm>
            <a:off x="0" y="1946498"/>
            <a:ext cx="6391747" cy="3928826"/>
          </a:xfrm>
          <a:prstGeom prst="homePlate">
            <a:avLst>
              <a:gd name="adj" fmla="val 12004"/>
            </a:avLst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F5262D-B47E-5AED-7E4B-C167408A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Case Studies - NH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35610A-497C-0271-15F0-2E2A3DD4E7C4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9760076" y="6047298"/>
            <a:ext cx="2428875" cy="810692"/>
          </a:xfrm>
          <a:prstGeom prst="rect">
            <a:avLst/>
          </a:prstGeom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C09633C3-929E-55C5-A96D-6D568384FC6B}"/>
              </a:ext>
            </a:extLst>
          </p:cNvPr>
          <p:cNvSpPr/>
          <p:nvPr/>
        </p:nvSpPr>
        <p:spPr>
          <a:xfrm>
            <a:off x="81480" y="1665840"/>
            <a:ext cx="6228785" cy="4490142"/>
          </a:xfrm>
          <a:prstGeom prst="homePlate">
            <a:avLst>
              <a:gd name="adj" fmla="val 12004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508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5FC3B6-F375-FE0C-9CD5-3FD2D626C3E0}"/>
              </a:ext>
            </a:extLst>
          </p:cNvPr>
          <p:cNvSpPr txBox="1"/>
          <p:nvPr/>
        </p:nvSpPr>
        <p:spPr>
          <a:xfrm>
            <a:off x="6636190" y="1665840"/>
            <a:ext cx="492716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Impa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971ADE-1B15-C2FF-FB41-68C3B9CCC323}"/>
              </a:ext>
            </a:extLst>
          </p:cNvPr>
          <p:cNvSpPr/>
          <p:nvPr/>
        </p:nvSpPr>
        <p:spPr>
          <a:xfrm>
            <a:off x="7704500" y="2176607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</a:pPr>
            <a:r>
              <a:rPr lang="en-GB" sz="1400" b="1" dirty="0">
                <a:solidFill>
                  <a:schemeClr val="tx1"/>
                </a:solidFill>
              </a:rPr>
              <a:t>Backlog compression</a:t>
            </a:r>
            <a:r>
              <a:rPr lang="en-GB" sz="1400" dirty="0">
                <a:solidFill>
                  <a:schemeClr val="tx1"/>
                </a:solidFill>
              </a:rPr>
              <a:t> and </a:t>
            </a:r>
            <a:r>
              <a:rPr lang="en-GB" sz="1400" b="1" dirty="0">
                <a:solidFill>
                  <a:schemeClr val="tx1"/>
                </a:solidFill>
              </a:rPr>
              <a:t>&gt;52-week waits reduced</a:t>
            </a:r>
            <a:r>
              <a:rPr lang="en-GB" sz="1400" dirty="0">
                <a:solidFill>
                  <a:schemeClr val="tx1"/>
                </a:solidFill>
              </a:rPr>
              <a:t>; pathway stabilised against ongoing demand.</a:t>
            </a:r>
            <a:endParaRPr lang="en-US" sz="1400" dirty="0">
              <a:solidFill>
                <a:schemeClr val="tx1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42B76DB-E4C3-14D0-CFB8-0BAA5AA2DF2B}"/>
              </a:ext>
            </a:extLst>
          </p:cNvPr>
          <p:cNvSpPr/>
          <p:nvPr/>
        </p:nvSpPr>
        <p:spPr>
          <a:xfrm>
            <a:off x="6636190" y="2155852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13" name="AutoShape 61">
            <a:extLst>
              <a:ext uri="{FF2B5EF4-FFF2-40B4-BE49-F238E27FC236}">
                <a16:creationId xmlns:a16="http://schemas.microsoft.com/office/drawing/2014/main" id="{58EB8DDB-1BF5-FBF8-4B13-66C95C8BE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1481" y="2291144"/>
            <a:ext cx="632596" cy="63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DA706B-11DC-0C73-1122-C0E666A1AD0E}"/>
              </a:ext>
            </a:extLst>
          </p:cNvPr>
          <p:cNvSpPr/>
          <p:nvPr/>
        </p:nvSpPr>
        <p:spPr>
          <a:xfrm>
            <a:off x="7704500" y="3208924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b="1" dirty="0">
                <a:solidFill>
                  <a:schemeClr val="tx1"/>
                </a:solidFill>
              </a:rPr>
              <a:t>~60% time reduction per assessment</a:t>
            </a:r>
            <a:r>
              <a:rPr lang="en-GB" sz="1400" dirty="0">
                <a:solidFill>
                  <a:schemeClr val="tx1"/>
                </a:solidFill>
              </a:rPr>
              <a:t> (5.8h → ~2.25h); </a:t>
            </a:r>
            <a:r>
              <a:rPr lang="en-GB" sz="1400" b="1" dirty="0">
                <a:solidFill>
                  <a:schemeClr val="tx1"/>
                </a:solidFill>
              </a:rPr>
              <a:t>~2.5× throughput</a:t>
            </a:r>
            <a:r>
              <a:rPr lang="en-GB" sz="1400" dirty="0">
                <a:solidFill>
                  <a:schemeClr val="tx1"/>
                </a:solidFill>
              </a:rPr>
              <a:t> with existing workforce.</a:t>
            </a:r>
            <a:endParaRPr lang="en-US" sz="1400" dirty="0">
              <a:solidFill>
                <a:schemeClr val="tx1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E19B748-9558-78D7-EC88-B734611B9B73}"/>
              </a:ext>
            </a:extLst>
          </p:cNvPr>
          <p:cNvSpPr/>
          <p:nvPr/>
        </p:nvSpPr>
        <p:spPr>
          <a:xfrm>
            <a:off x="6636190" y="3188169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613573-6FED-E618-8866-0A24F2C15F3D}"/>
              </a:ext>
            </a:extLst>
          </p:cNvPr>
          <p:cNvGrpSpPr>
            <a:grpSpLocks noChangeAspect="1"/>
          </p:cNvGrpSpPr>
          <p:nvPr/>
        </p:nvGrpSpPr>
        <p:grpSpPr>
          <a:xfrm>
            <a:off x="6771774" y="3323461"/>
            <a:ext cx="632011" cy="632596"/>
            <a:chOff x="5273801" y="2606040"/>
            <a:chExt cx="1644396" cy="1645920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39E85F21-22B1-4BB4-C35C-D711BEC8B3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1DDD989-ED1D-C257-758B-67EC65B24A30}"/>
                </a:ext>
              </a:extLst>
            </p:cNvPr>
            <p:cNvGrpSpPr/>
            <p:nvPr/>
          </p:nvGrpSpPr>
          <p:grpSpPr>
            <a:xfrm>
              <a:off x="5450966" y="2804541"/>
              <a:ext cx="1288923" cy="1200912"/>
              <a:chOff x="5450966" y="2804541"/>
              <a:chExt cx="1288923" cy="1200912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42A9767F-E13D-A2AA-46CD-FC2A3FDDA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7671" y="2804541"/>
                <a:ext cx="675132" cy="515874"/>
              </a:xfrm>
              <a:custGeom>
                <a:avLst/>
                <a:gdLst>
                  <a:gd name="T0" fmla="*/ 945 w 946"/>
                  <a:gd name="T1" fmla="*/ 483 h 722"/>
                  <a:gd name="T2" fmla="*/ 473 w 946"/>
                  <a:gd name="T3" fmla="*/ 0 h 722"/>
                  <a:gd name="T4" fmla="*/ 1 w 946"/>
                  <a:gd name="T5" fmla="*/ 483 h 722"/>
                  <a:gd name="T6" fmla="*/ 20 w 946"/>
                  <a:gd name="T7" fmla="*/ 652 h 722"/>
                  <a:gd name="T8" fmla="*/ 20 w 946"/>
                  <a:gd name="T9" fmla="*/ 653 h 722"/>
                  <a:gd name="T10" fmla="*/ 67 w 946"/>
                  <a:gd name="T11" fmla="*/ 713 h 722"/>
                  <a:gd name="T12" fmla="*/ 98 w 946"/>
                  <a:gd name="T13" fmla="*/ 716 h 722"/>
                  <a:gd name="T14" fmla="*/ 214 w 946"/>
                  <a:gd name="T15" fmla="*/ 388 h 722"/>
                  <a:gd name="T16" fmla="*/ 835 w 946"/>
                  <a:gd name="T17" fmla="*/ 366 h 722"/>
                  <a:gd name="T18" fmla="*/ 840 w 946"/>
                  <a:gd name="T19" fmla="*/ 722 h 722"/>
                  <a:gd name="T20" fmla="*/ 874 w 946"/>
                  <a:gd name="T21" fmla="*/ 722 h 722"/>
                  <a:gd name="T22" fmla="*/ 928 w 946"/>
                  <a:gd name="T23" fmla="*/ 646 h 722"/>
                  <a:gd name="T24" fmla="*/ 928 w 946"/>
                  <a:gd name="T25" fmla="*/ 647 h 722"/>
                  <a:gd name="T26" fmla="*/ 945 w 946"/>
                  <a:gd name="T27" fmla="*/ 483 h 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6" h="722">
                    <a:moveTo>
                      <a:pt x="945" y="483"/>
                    </a:moveTo>
                    <a:cubicBezTo>
                      <a:pt x="945" y="216"/>
                      <a:pt x="740" y="0"/>
                      <a:pt x="473" y="0"/>
                    </a:cubicBezTo>
                    <a:cubicBezTo>
                      <a:pt x="206" y="0"/>
                      <a:pt x="1" y="216"/>
                      <a:pt x="1" y="483"/>
                    </a:cubicBezTo>
                    <a:cubicBezTo>
                      <a:pt x="1" y="543"/>
                      <a:pt x="0" y="600"/>
                      <a:pt x="20" y="652"/>
                    </a:cubicBezTo>
                    <a:cubicBezTo>
                      <a:pt x="20" y="652"/>
                      <a:pt x="20" y="653"/>
                      <a:pt x="20" y="653"/>
                    </a:cubicBezTo>
                    <a:cubicBezTo>
                      <a:pt x="67" y="695"/>
                      <a:pt x="67" y="713"/>
                      <a:pt x="67" y="713"/>
                    </a:cubicBezTo>
                    <a:cubicBezTo>
                      <a:pt x="98" y="716"/>
                      <a:pt x="98" y="716"/>
                      <a:pt x="98" y="716"/>
                    </a:cubicBezTo>
                    <a:cubicBezTo>
                      <a:pt x="98" y="716"/>
                      <a:pt x="73" y="431"/>
                      <a:pt x="214" y="388"/>
                    </a:cubicBezTo>
                    <a:cubicBezTo>
                      <a:pt x="214" y="388"/>
                      <a:pt x="782" y="637"/>
                      <a:pt x="835" y="366"/>
                    </a:cubicBezTo>
                    <a:cubicBezTo>
                      <a:pt x="840" y="704"/>
                      <a:pt x="840" y="722"/>
                      <a:pt x="840" y="722"/>
                    </a:cubicBezTo>
                    <a:cubicBezTo>
                      <a:pt x="874" y="722"/>
                      <a:pt x="874" y="722"/>
                      <a:pt x="874" y="722"/>
                    </a:cubicBezTo>
                    <a:cubicBezTo>
                      <a:pt x="919" y="672"/>
                      <a:pt x="926" y="647"/>
                      <a:pt x="928" y="646"/>
                    </a:cubicBezTo>
                    <a:cubicBezTo>
                      <a:pt x="928" y="647"/>
                      <a:pt x="928" y="647"/>
                      <a:pt x="928" y="647"/>
                    </a:cubicBezTo>
                    <a:cubicBezTo>
                      <a:pt x="946" y="596"/>
                      <a:pt x="945" y="541"/>
                      <a:pt x="945" y="483"/>
                    </a:cubicBezTo>
                    <a:close/>
                  </a:path>
                </a:pathLst>
              </a:custGeom>
              <a:solidFill>
                <a:srgbClr val="005E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167A32A6-BE0F-22C2-D498-17124C9B49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0966" y="3318891"/>
                <a:ext cx="1288923" cy="686562"/>
              </a:xfrm>
              <a:custGeom>
                <a:avLst/>
                <a:gdLst>
                  <a:gd name="T0" fmla="*/ 773 w 1806"/>
                  <a:gd name="T1" fmla="*/ 961 h 961"/>
                  <a:gd name="T2" fmla="*/ 1281 w 1806"/>
                  <a:gd name="T3" fmla="*/ 552 h 961"/>
                  <a:gd name="T4" fmla="*/ 1243 w 1806"/>
                  <a:gd name="T5" fmla="*/ 808 h 961"/>
                  <a:gd name="T6" fmla="*/ 1428 w 1806"/>
                  <a:gd name="T7" fmla="*/ 819 h 961"/>
                  <a:gd name="T8" fmla="*/ 1324 w 1806"/>
                  <a:gd name="T9" fmla="*/ 555 h 961"/>
                  <a:gd name="T10" fmla="*/ 1801 w 1806"/>
                  <a:gd name="T11" fmla="*/ 931 h 961"/>
                  <a:gd name="T12" fmla="*/ 1290 w 1806"/>
                  <a:gd name="T13" fmla="*/ 808 h 961"/>
                  <a:gd name="T14" fmla="*/ 1381 w 1806"/>
                  <a:gd name="T15" fmla="*/ 808 h 961"/>
                  <a:gd name="T16" fmla="*/ 1290 w 1806"/>
                  <a:gd name="T17" fmla="*/ 808 h 961"/>
                  <a:gd name="T18" fmla="*/ 559 w 1806"/>
                  <a:gd name="T19" fmla="*/ 550 h 961"/>
                  <a:gd name="T20" fmla="*/ 602 w 1806"/>
                  <a:gd name="T21" fmla="*/ 657 h 961"/>
                  <a:gd name="T22" fmla="*/ 631 w 1806"/>
                  <a:gd name="T23" fmla="*/ 901 h 961"/>
                  <a:gd name="T24" fmla="*/ 571 w 1806"/>
                  <a:gd name="T25" fmla="*/ 886 h 961"/>
                  <a:gd name="T26" fmla="*/ 616 w 1806"/>
                  <a:gd name="T27" fmla="*/ 867 h 961"/>
                  <a:gd name="T28" fmla="*/ 511 w 1806"/>
                  <a:gd name="T29" fmla="*/ 648 h 961"/>
                  <a:gd name="T30" fmla="*/ 423 w 1806"/>
                  <a:gd name="T31" fmla="*/ 681 h 961"/>
                  <a:gd name="T32" fmla="*/ 379 w 1806"/>
                  <a:gd name="T33" fmla="*/ 867 h 961"/>
                  <a:gd name="T34" fmla="*/ 380 w 1806"/>
                  <a:gd name="T35" fmla="*/ 901 h 961"/>
                  <a:gd name="T36" fmla="*/ 329 w 1806"/>
                  <a:gd name="T37" fmla="*/ 885 h 961"/>
                  <a:gd name="T38" fmla="*/ 493 w 1806"/>
                  <a:gd name="T39" fmla="*/ 614 h 961"/>
                  <a:gd name="T40" fmla="*/ 223 w 1806"/>
                  <a:gd name="T41" fmla="*/ 614 h 961"/>
                  <a:gd name="T42" fmla="*/ 26 w 1806"/>
                  <a:gd name="T43" fmla="*/ 961 h 961"/>
                  <a:gd name="T44" fmla="*/ 863 w 1806"/>
                  <a:gd name="T45" fmla="*/ 836 h 961"/>
                  <a:gd name="T46" fmla="*/ 1329 w 1806"/>
                  <a:gd name="T47" fmla="*/ 24 h 961"/>
                  <a:gd name="T48" fmla="*/ 1273 w 1806"/>
                  <a:gd name="T49" fmla="*/ 89 h 961"/>
                  <a:gd name="T50" fmla="*/ 903 w 1806"/>
                  <a:gd name="T51" fmla="*/ 504 h 961"/>
                  <a:gd name="T52" fmla="*/ 533 w 1806"/>
                  <a:gd name="T53" fmla="*/ 89 h 961"/>
                  <a:gd name="T54" fmla="*/ 477 w 1806"/>
                  <a:gd name="T55" fmla="*/ 24 h 961"/>
                  <a:gd name="T56" fmla="*/ 426 w 1806"/>
                  <a:gd name="T57" fmla="*/ 5 h 961"/>
                  <a:gd name="T58" fmla="*/ 639 w 1806"/>
                  <a:gd name="T59" fmla="*/ 414 h 961"/>
                  <a:gd name="T60" fmla="*/ 646 w 1806"/>
                  <a:gd name="T61" fmla="*/ 522 h 961"/>
                  <a:gd name="T62" fmla="*/ 683 w 1806"/>
                  <a:gd name="T63" fmla="*/ 451 h 961"/>
                  <a:gd name="T64" fmla="*/ 1123 w 1806"/>
                  <a:gd name="T65" fmla="*/ 451 h 961"/>
                  <a:gd name="T66" fmla="*/ 1160 w 1806"/>
                  <a:gd name="T67" fmla="*/ 522 h 961"/>
                  <a:gd name="T68" fmla="*/ 1167 w 1806"/>
                  <a:gd name="T69" fmla="*/ 414 h 961"/>
                  <a:gd name="T70" fmla="*/ 1380 w 1806"/>
                  <a:gd name="T71" fmla="*/ 3 h 961"/>
                  <a:gd name="T72" fmla="*/ 1329 w 1806"/>
                  <a:gd name="T73" fmla="*/ 24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06" h="961">
                    <a:moveTo>
                      <a:pt x="1780" y="961"/>
                    </a:moveTo>
                    <a:cubicBezTo>
                      <a:pt x="773" y="961"/>
                      <a:pt x="773" y="961"/>
                      <a:pt x="773" y="961"/>
                    </a:cubicBezTo>
                    <a:cubicBezTo>
                      <a:pt x="773" y="961"/>
                      <a:pt x="1231" y="549"/>
                      <a:pt x="1232" y="549"/>
                    </a:cubicBezTo>
                    <a:cubicBezTo>
                      <a:pt x="1246" y="549"/>
                      <a:pt x="1262" y="550"/>
                      <a:pt x="1281" y="552"/>
                    </a:cubicBezTo>
                    <a:cubicBezTo>
                      <a:pt x="1323" y="606"/>
                      <a:pt x="1320" y="709"/>
                      <a:pt x="1320" y="717"/>
                    </a:cubicBezTo>
                    <a:cubicBezTo>
                      <a:pt x="1276" y="724"/>
                      <a:pt x="1243" y="762"/>
                      <a:pt x="1243" y="808"/>
                    </a:cubicBezTo>
                    <a:cubicBezTo>
                      <a:pt x="1243" y="862"/>
                      <a:pt x="1290" y="906"/>
                      <a:pt x="1346" y="900"/>
                    </a:cubicBezTo>
                    <a:cubicBezTo>
                      <a:pt x="1389" y="895"/>
                      <a:pt x="1423" y="861"/>
                      <a:pt x="1428" y="819"/>
                    </a:cubicBezTo>
                    <a:cubicBezTo>
                      <a:pt x="1433" y="769"/>
                      <a:pt x="1400" y="727"/>
                      <a:pt x="1355" y="717"/>
                    </a:cubicBezTo>
                    <a:cubicBezTo>
                      <a:pt x="1355" y="705"/>
                      <a:pt x="1357" y="619"/>
                      <a:pt x="1324" y="555"/>
                    </a:cubicBezTo>
                    <a:cubicBezTo>
                      <a:pt x="1407" y="564"/>
                      <a:pt x="1511" y="580"/>
                      <a:pt x="1583" y="614"/>
                    </a:cubicBezTo>
                    <a:cubicBezTo>
                      <a:pt x="1693" y="664"/>
                      <a:pt x="1773" y="857"/>
                      <a:pt x="1801" y="931"/>
                    </a:cubicBezTo>
                    <a:cubicBezTo>
                      <a:pt x="1806" y="945"/>
                      <a:pt x="1796" y="961"/>
                      <a:pt x="1780" y="961"/>
                    </a:cubicBezTo>
                    <a:close/>
                    <a:moveTo>
                      <a:pt x="1290" y="808"/>
                    </a:moveTo>
                    <a:cubicBezTo>
                      <a:pt x="1290" y="833"/>
                      <a:pt x="1311" y="853"/>
                      <a:pt x="1336" y="853"/>
                    </a:cubicBezTo>
                    <a:cubicBezTo>
                      <a:pt x="1361" y="853"/>
                      <a:pt x="1381" y="833"/>
                      <a:pt x="1381" y="808"/>
                    </a:cubicBezTo>
                    <a:cubicBezTo>
                      <a:pt x="1381" y="783"/>
                      <a:pt x="1361" y="762"/>
                      <a:pt x="1336" y="762"/>
                    </a:cubicBezTo>
                    <a:cubicBezTo>
                      <a:pt x="1311" y="762"/>
                      <a:pt x="1290" y="783"/>
                      <a:pt x="1290" y="808"/>
                    </a:cubicBezTo>
                    <a:close/>
                    <a:moveTo>
                      <a:pt x="611" y="548"/>
                    </a:moveTo>
                    <a:cubicBezTo>
                      <a:pt x="611" y="548"/>
                      <a:pt x="591" y="548"/>
                      <a:pt x="559" y="550"/>
                    </a:cubicBezTo>
                    <a:cubicBezTo>
                      <a:pt x="546" y="565"/>
                      <a:pt x="536" y="587"/>
                      <a:pt x="529" y="616"/>
                    </a:cubicBezTo>
                    <a:cubicBezTo>
                      <a:pt x="558" y="621"/>
                      <a:pt x="583" y="634"/>
                      <a:pt x="602" y="657"/>
                    </a:cubicBezTo>
                    <a:cubicBezTo>
                      <a:pt x="668" y="732"/>
                      <a:pt x="650" y="880"/>
                      <a:pt x="649" y="886"/>
                    </a:cubicBezTo>
                    <a:cubicBezTo>
                      <a:pt x="648" y="895"/>
                      <a:pt x="640" y="901"/>
                      <a:pt x="631" y="901"/>
                    </a:cubicBezTo>
                    <a:cubicBezTo>
                      <a:pt x="589" y="901"/>
                      <a:pt x="589" y="901"/>
                      <a:pt x="589" y="901"/>
                    </a:cubicBezTo>
                    <a:cubicBezTo>
                      <a:pt x="580" y="901"/>
                      <a:pt x="571" y="895"/>
                      <a:pt x="571" y="886"/>
                    </a:cubicBezTo>
                    <a:cubicBezTo>
                      <a:pt x="570" y="875"/>
                      <a:pt x="578" y="867"/>
                      <a:pt x="588" y="867"/>
                    </a:cubicBezTo>
                    <a:cubicBezTo>
                      <a:pt x="616" y="867"/>
                      <a:pt x="616" y="867"/>
                      <a:pt x="616" y="867"/>
                    </a:cubicBezTo>
                    <a:cubicBezTo>
                      <a:pt x="618" y="829"/>
                      <a:pt x="621" y="731"/>
                      <a:pt x="576" y="680"/>
                    </a:cubicBezTo>
                    <a:cubicBezTo>
                      <a:pt x="559" y="661"/>
                      <a:pt x="538" y="650"/>
                      <a:pt x="511" y="648"/>
                    </a:cubicBezTo>
                    <a:cubicBezTo>
                      <a:pt x="506" y="648"/>
                      <a:pt x="502" y="648"/>
                      <a:pt x="502" y="648"/>
                    </a:cubicBezTo>
                    <a:cubicBezTo>
                      <a:pt x="470" y="648"/>
                      <a:pt x="444" y="659"/>
                      <a:pt x="423" y="681"/>
                    </a:cubicBezTo>
                    <a:cubicBezTo>
                      <a:pt x="373" y="732"/>
                      <a:pt x="365" y="828"/>
                      <a:pt x="364" y="867"/>
                    </a:cubicBezTo>
                    <a:cubicBezTo>
                      <a:pt x="379" y="867"/>
                      <a:pt x="379" y="867"/>
                      <a:pt x="379" y="867"/>
                    </a:cubicBezTo>
                    <a:cubicBezTo>
                      <a:pt x="388" y="867"/>
                      <a:pt x="396" y="873"/>
                      <a:pt x="397" y="882"/>
                    </a:cubicBezTo>
                    <a:cubicBezTo>
                      <a:pt x="398" y="893"/>
                      <a:pt x="390" y="901"/>
                      <a:pt x="380" y="901"/>
                    </a:cubicBezTo>
                    <a:cubicBezTo>
                      <a:pt x="347" y="901"/>
                      <a:pt x="347" y="901"/>
                      <a:pt x="347" y="901"/>
                    </a:cubicBezTo>
                    <a:cubicBezTo>
                      <a:pt x="337" y="901"/>
                      <a:pt x="329" y="894"/>
                      <a:pt x="329" y="885"/>
                    </a:cubicBezTo>
                    <a:cubicBezTo>
                      <a:pt x="329" y="878"/>
                      <a:pt x="325" y="732"/>
                      <a:pt x="398" y="656"/>
                    </a:cubicBezTo>
                    <a:cubicBezTo>
                      <a:pt x="423" y="630"/>
                      <a:pt x="456" y="615"/>
                      <a:pt x="493" y="614"/>
                    </a:cubicBezTo>
                    <a:cubicBezTo>
                      <a:pt x="499" y="590"/>
                      <a:pt x="506" y="570"/>
                      <a:pt x="516" y="552"/>
                    </a:cubicBezTo>
                    <a:cubicBezTo>
                      <a:pt x="430" y="559"/>
                      <a:pt x="305" y="575"/>
                      <a:pt x="223" y="614"/>
                    </a:cubicBezTo>
                    <a:cubicBezTo>
                      <a:pt x="113" y="664"/>
                      <a:pt x="33" y="857"/>
                      <a:pt x="5" y="931"/>
                    </a:cubicBezTo>
                    <a:cubicBezTo>
                      <a:pt x="0" y="945"/>
                      <a:pt x="10" y="961"/>
                      <a:pt x="26" y="961"/>
                    </a:cubicBezTo>
                    <a:cubicBezTo>
                      <a:pt x="722" y="961"/>
                      <a:pt x="722" y="961"/>
                      <a:pt x="722" y="961"/>
                    </a:cubicBezTo>
                    <a:cubicBezTo>
                      <a:pt x="863" y="836"/>
                      <a:pt x="863" y="836"/>
                      <a:pt x="863" y="836"/>
                    </a:cubicBezTo>
                    <a:lnTo>
                      <a:pt x="611" y="548"/>
                    </a:lnTo>
                    <a:close/>
                    <a:moveTo>
                      <a:pt x="1329" y="24"/>
                    </a:moveTo>
                    <a:cubicBezTo>
                      <a:pt x="1322" y="43"/>
                      <a:pt x="1308" y="65"/>
                      <a:pt x="1283" y="77"/>
                    </a:cubicBezTo>
                    <a:cubicBezTo>
                      <a:pt x="1278" y="80"/>
                      <a:pt x="1274" y="84"/>
                      <a:pt x="1273" y="89"/>
                    </a:cubicBezTo>
                    <a:cubicBezTo>
                      <a:pt x="1232" y="192"/>
                      <a:pt x="1157" y="365"/>
                      <a:pt x="1129" y="391"/>
                    </a:cubicBezTo>
                    <a:cubicBezTo>
                      <a:pt x="1084" y="430"/>
                      <a:pt x="968" y="504"/>
                      <a:pt x="903" y="504"/>
                    </a:cubicBezTo>
                    <a:cubicBezTo>
                      <a:pt x="838" y="504"/>
                      <a:pt x="722" y="430"/>
                      <a:pt x="677" y="391"/>
                    </a:cubicBezTo>
                    <a:cubicBezTo>
                      <a:pt x="649" y="365"/>
                      <a:pt x="574" y="192"/>
                      <a:pt x="533" y="89"/>
                    </a:cubicBezTo>
                    <a:cubicBezTo>
                      <a:pt x="532" y="84"/>
                      <a:pt x="528" y="80"/>
                      <a:pt x="523" y="77"/>
                    </a:cubicBezTo>
                    <a:cubicBezTo>
                      <a:pt x="498" y="65"/>
                      <a:pt x="484" y="43"/>
                      <a:pt x="477" y="24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2"/>
                      <a:pt x="426" y="4"/>
                      <a:pt x="426" y="5"/>
                    </a:cubicBezTo>
                    <a:cubicBezTo>
                      <a:pt x="431" y="33"/>
                      <a:pt x="446" y="83"/>
                      <a:pt x="495" y="112"/>
                    </a:cubicBezTo>
                    <a:cubicBezTo>
                      <a:pt x="517" y="168"/>
                      <a:pt x="594" y="359"/>
                      <a:pt x="639" y="414"/>
                    </a:cubicBezTo>
                    <a:cubicBezTo>
                      <a:pt x="639" y="512"/>
                      <a:pt x="639" y="512"/>
                      <a:pt x="639" y="512"/>
                    </a:cubicBezTo>
                    <a:cubicBezTo>
                      <a:pt x="646" y="522"/>
                      <a:pt x="646" y="522"/>
                      <a:pt x="646" y="522"/>
                    </a:cubicBezTo>
                    <a:cubicBezTo>
                      <a:pt x="648" y="524"/>
                      <a:pt x="660" y="540"/>
                      <a:pt x="683" y="560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742" y="494"/>
                      <a:pt x="838" y="548"/>
                      <a:pt x="903" y="548"/>
                    </a:cubicBezTo>
                    <a:cubicBezTo>
                      <a:pt x="968" y="548"/>
                      <a:pt x="1064" y="494"/>
                      <a:pt x="1123" y="451"/>
                    </a:cubicBezTo>
                    <a:cubicBezTo>
                      <a:pt x="1123" y="560"/>
                      <a:pt x="1123" y="560"/>
                      <a:pt x="1123" y="560"/>
                    </a:cubicBezTo>
                    <a:cubicBezTo>
                      <a:pt x="1146" y="540"/>
                      <a:pt x="1158" y="524"/>
                      <a:pt x="1160" y="522"/>
                    </a:cubicBezTo>
                    <a:cubicBezTo>
                      <a:pt x="1167" y="512"/>
                      <a:pt x="1167" y="512"/>
                      <a:pt x="1167" y="512"/>
                    </a:cubicBezTo>
                    <a:cubicBezTo>
                      <a:pt x="1167" y="414"/>
                      <a:pt x="1167" y="414"/>
                      <a:pt x="1167" y="414"/>
                    </a:cubicBezTo>
                    <a:cubicBezTo>
                      <a:pt x="1212" y="358"/>
                      <a:pt x="1289" y="168"/>
                      <a:pt x="1311" y="112"/>
                    </a:cubicBezTo>
                    <a:cubicBezTo>
                      <a:pt x="1363" y="82"/>
                      <a:pt x="1377" y="26"/>
                      <a:pt x="1380" y="3"/>
                    </a:cubicBezTo>
                    <a:cubicBezTo>
                      <a:pt x="1380" y="2"/>
                      <a:pt x="1380" y="1"/>
                      <a:pt x="1380" y="0"/>
                    </a:cubicBezTo>
                    <a:lnTo>
                      <a:pt x="1329" y="24"/>
                    </a:lnTo>
                    <a:close/>
                  </a:path>
                </a:pathLst>
              </a:custGeom>
              <a:solidFill>
                <a:srgbClr val="0028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41459E21-E617-A687-C15E-235733D0BD74}"/>
              </a:ext>
            </a:extLst>
          </p:cNvPr>
          <p:cNvSpPr/>
          <p:nvPr/>
        </p:nvSpPr>
        <p:spPr>
          <a:xfrm>
            <a:off x="7704500" y="4241242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dirty="0">
                <a:solidFill>
                  <a:schemeClr val="tx1"/>
                </a:solidFill>
              </a:rPr>
              <a:t>Sets foundations for a </a:t>
            </a:r>
            <a:r>
              <a:rPr lang="en-GB" sz="1400" b="1" dirty="0">
                <a:solidFill>
                  <a:schemeClr val="tx1"/>
                </a:solidFill>
              </a:rPr>
              <a:t>Neurodiversity Hub</a:t>
            </a:r>
            <a:r>
              <a:rPr lang="en-GB" sz="1400" dirty="0">
                <a:solidFill>
                  <a:schemeClr val="tx1"/>
                </a:solidFill>
              </a:rPr>
              <a:t> model (ASD/ADHD) and sustained performance</a:t>
            </a:r>
            <a:endParaRPr lang="en-US" sz="1400" dirty="0">
              <a:solidFill>
                <a:schemeClr val="tx1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B7084F-26CA-2C5E-025F-9197D8B74260}"/>
              </a:ext>
            </a:extLst>
          </p:cNvPr>
          <p:cNvSpPr/>
          <p:nvPr/>
        </p:nvSpPr>
        <p:spPr>
          <a:xfrm>
            <a:off x="7704500" y="5273559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dirty="0">
                <a:solidFill>
                  <a:schemeClr val="tx1"/>
                </a:solidFill>
                <a:cs typeface="Arial" panose="020B0604020202020204" pitchFamily="34" charset="0"/>
              </a:rPr>
              <a:t>~£1.5m net annual contribution (scalable to ~£4.5m with expanded workforce)</a:t>
            </a:r>
            <a:endParaRPr lang="en-US" sz="1200" i="1" dirty="0">
              <a:solidFill>
                <a:schemeClr val="tx1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0235BE3-7398-9CC5-7B7C-7D75C82E0707}"/>
              </a:ext>
            </a:extLst>
          </p:cNvPr>
          <p:cNvCxnSpPr/>
          <p:nvPr/>
        </p:nvCxnSpPr>
        <p:spPr>
          <a:xfrm>
            <a:off x="6636190" y="2026713"/>
            <a:ext cx="492716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8CD9A290-4068-2C79-930C-8D64BD404FF1}"/>
              </a:ext>
            </a:extLst>
          </p:cNvPr>
          <p:cNvSpPr/>
          <p:nvPr/>
        </p:nvSpPr>
        <p:spPr>
          <a:xfrm>
            <a:off x="6636191" y="4220486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41" name="AutoShape 23">
            <a:extLst>
              <a:ext uri="{FF2B5EF4-FFF2-40B4-BE49-F238E27FC236}">
                <a16:creationId xmlns:a16="http://schemas.microsoft.com/office/drawing/2014/main" id="{AFEBFBEA-874E-6718-C118-22A198A6467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1777" y="4355778"/>
            <a:ext cx="632010" cy="63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3881C0D-ECEB-1786-E248-31D650A50ABC}"/>
              </a:ext>
            </a:extLst>
          </p:cNvPr>
          <p:cNvSpPr/>
          <p:nvPr/>
        </p:nvSpPr>
        <p:spPr>
          <a:xfrm>
            <a:off x="6635578" y="5246651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1B3323A-3679-B312-42B0-7E0D5CD0D0A4}"/>
              </a:ext>
            </a:extLst>
          </p:cNvPr>
          <p:cNvSpPr/>
          <p:nvPr/>
        </p:nvSpPr>
        <p:spPr>
          <a:xfrm>
            <a:off x="307309" y="2110467"/>
            <a:ext cx="4883560" cy="157827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cs typeface="Arial" panose="020B0604020202020204" pitchFamily="34" charset="0"/>
              </a:rPr>
              <a:t>Autism Spectrum Disease diagnostic waits escalating</a:t>
            </a:r>
            <a:r>
              <a:rPr lang="en-GB" sz="1400" dirty="0">
                <a:solidFill>
                  <a:schemeClr val="tx1"/>
                </a:solidFill>
                <a:cs typeface="Arial" panose="020B0604020202020204" pitchFamily="34" charset="0"/>
              </a:rPr>
              <a:t>, with ~1,000+ children on the list and many approaching 104 week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cs typeface="Arial" panose="020B0604020202020204" pitchFamily="34" charset="0"/>
              </a:rPr>
              <a:t>Current pathway running at ~2× gold standard </a:t>
            </a:r>
            <a:r>
              <a:rPr lang="en-GB" sz="1400" dirty="0">
                <a:solidFill>
                  <a:schemeClr val="tx1"/>
                </a:solidFill>
                <a:cs typeface="Arial" panose="020B0604020202020204" pitchFamily="34" charset="0"/>
              </a:rPr>
              <a:t>(5.8h vs 2.5–3.5h per assessment); clinicians doing admin; non-standard report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cs typeface="Arial" panose="020B0604020202020204" pitchFamily="34" charset="0"/>
              </a:rPr>
              <a:t>Core capacity and skill-mix misaligned</a:t>
            </a:r>
            <a:r>
              <a:rPr lang="en-GB" sz="1400" dirty="0">
                <a:solidFill>
                  <a:schemeClr val="tx1"/>
                </a:solidFill>
                <a:cs typeface="Arial" panose="020B0604020202020204" pitchFamily="34" charset="0"/>
              </a:rPr>
              <a:t>; recruitment lags make “more staff only” solutions slow to bite.</a:t>
            </a:r>
            <a:endParaRPr lang="en-US" sz="1400" b="1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933C2DC-30AC-6426-9B02-AB6A572B07E9}"/>
              </a:ext>
            </a:extLst>
          </p:cNvPr>
          <p:cNvSpPr txBox="1"/>
          <p:nvPr/>
        </p:nvSpPr>
        <p:spPr>
          <a:xfrm>
            <a:off x="434289" y="1791782"/>
            <a:ext cx="488356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hallenge</a:t>
            </a:r>
          </a:p>
        </p:txBody>
      </p:sp>
      <p:pic>
        <p:nvPicPr>
          <p:cNvPr id="51" name="Graphic 50" descr="Transfer1 with solid fill">
            <a:extLst>
              <a:ext uri="{FF2B5EF4-FFF2-40B4-BE49-F238E27FC236}">
                <a16:creationId xmlns:a16="http://schemas.microsoft.com/office/drawing/2014/main" id="{E94CC454-6924-E6BC-1282-FF869AA2C7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71481" y="5349318"/>
            <a:ext cx="697980" cy="697980"/>
          </a:xfrm>
          <a:prstGeom prst="rect">
            <a:avLst/>
          </a:prstGeom>
        </p:spPr>
      </p:pic>
      <p:pic>
        <p:nvPicPr>
          <p:cNvPr id="53" name="Graphic 52" descr="Bar graph with upward trend with solid fill">
            <a:extLst>
              <a:ext uri="{FF2B5EF4-FFF2-40B4-BE49-F238E27FC236}">
                <a16:creationId xmlns:a16="http://schemas.microsoft.com/office/drawing/2014/main" id="{BAD952A9-86C4-29F4-6F0F-94B77033A7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71481" y="4400486"/>
            <a:ext cx="595745" cy="59574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17E81D6-F5D3-2D12-8B8A-1E249D70BC81}"/>
              </a:ext>
            </a:extLst>
          </p:cNvPr>
          <p:cNvSpPr/>
          <p:nvPr/>
        </p:nvSpPr>
        <p:spPr>
          <a:xfrm>
            <a:off x="307309" y="4309624"/>
            <a:ext cx="4883560" cy="1702229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cs typeface="Arial" panose="020B0604020202020204" pitchFamily="34" charset="0"/>
              </a:rPr>
              <a:t>Re-engineered pathway to gold standard</a:t>
            </a:r>
            <a:r>
              <a:rPr lang="en-GB" sz="1400" dirty="0">
                <a:solidFill>
                  <a:schemeClr val="tx1"/>
                </a:solidFill>
                <a:cs typeface="Arial" panose="020B0604020202020204" pitchFamily="34" charset="0"/>
              </a:rPr>
              <a:t>, introducing AI tools (speech-to-text, auto-scoring, templated reporting) to cut clinician time to ~2.25 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AI-enabled pathway</a:t>
            </a:r>
            <a:r>
              <a:rPr lang="en-GB" sz="1400" dirty="0">
                <a:solidFill>
                  <a:schemeClr val="tx1"/>
                </a:solidFill>
              </a:rPr>
              <a:t>: speech-to-text, auto-scoring, templated reporting integrated with EHR to reduce clinician time to </a:t>
            </a:r>
            <a:r>
              <a:rPr lang="en-GB" sz="1400" b="1" dirty="0">
                <a:solidFill>
                  <a:schemeClr val="tx1"/>
                </a:solidFill>
              </a:rPr>
              <a:t>~2.25h/case</a:t>
            </a:r>
            <a:r>
              <a:rPr lang="en-GB" sz="1400" dirty="0">
                <a:solidFill>
                  <a:schemeClr val="tx1"/>
                </a:solidFill>
              </a:rPr>
              <a:t> while maintaining governance/qua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</a:rPr>
              <a:t>Targeted redesign to benchmark</a:t>
            </a:r>
            <a:r>
              <a:rPr lang="en-GB" sz="1400" dirty="0">
                <a:solidFill>
                  <a:schemeClr val="tx1"/>
                </a:solidFill>
              </a:rPr>
              <a:t>: reallocate tasks to Bands 3–5, standardise templates/SOPs, optimise clinic flow.</a:t>
            </a:r>
            <a:endParaRPr lang="en-GB" sz="1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78000" lvl="1" indent="-252000">
              <a:spcAft>
                <a:spcPts val="600"/>
              </a:spcAft>
              <a:buClr>
                <a:srgbClr val="005EB8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2D3E1D-6694-EEE1-075D-7859D5C61985}"/>
              </a:ext>
            </a:extLst>
          </p:cNvPr>
          <p:cNvSpPr txBox="1"/>
          <p:nvPr/>
        </p:nvSpPr>
        <p:spPr>
          <a:xfrm>
            <a:off x="434289" y="3904720"/>
            <a:ext cx="5654984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olution</a:t>
            </a:r>
          </a:p>
        </p:txBody>
      </p:sp>
      <p:pic>
        <p:nvPicPr>
          <p:cNvPr id="27" name="Graphic 26" descr="Hourglass Finished with solid fill">
            <a:extLst>
              <a:ext uri="{FF2B5EF4-FFF2-40B4-BE49-F238E27FC236}">
                <a16:creationId xmlns:a16="http://schemas.microsoft.com/office/drawing/2014/main" id="{AC0CD821-41AF-70CA-6A4C-104F6333BF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8054" y="2378841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97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DAC23E-EF56-3F97-8B00-2293A5272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row: Pentagon 7">
            <a:extLst>
              <a:ext uri="{FF2B5EF4-FFF2-40B4-BE49-F238E27FC236}">
                <a16:creationId xmlns:a16="http://schemas.microsoft.com/office/drawing/2014/main" id="{1099A4CB-E878-584E-00D5-C1130569511E}"/>
              </a:ext>
            </a:extLst>
          </p:cNvPr>
          <p:cNvSpPr/>
          <p:nvPr/>
        </p:nvSpPr>
        <p:spPr>
          <a:xfrm>
            <a:off x="0" y="1946498"/>
            <a:ext cx="6391747" cy="3928826"/>
          </a:xfrm>
          <a:prstGeom prst="homePlate">
            <a:avLst>
              <a:gd name="adj" fmla="val 12004"/>
            </a:avLst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382FAA-A410-243F-A1C2-4B9C9D30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Case Studies - S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6099093-9E0E-5BCC-18AD-F48F4BE28BE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9760076" y="6047298"/>
            <a:ext cx="2428875" cy="810692"/>
          </a:xfrm>
          <a:prstGeom prst="rect">
            <a:avLst/>
          </a:prstGeom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149F848-9673-79B1-FBC7-0A714D8036AF}"/>
              </a:ext>
            </a:extLst>
          </p:cNvPr>
          <p:cNvSpPr/>
          <p:nvPr/>
        </p:nvSpPr>
        <p:spPr>
          <a:xfrm>
            <a:off x="81480" y="1665840"/>
            <a:ext cx="6228785" cy="4490142"/>
          </a:xfrm>
          <a:prstGeom prst="homePlate">
            <a:avLst>
              <a:gd name="adj" fmla="val 12004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50800" dir="2700000" sx="99000" sy="99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GB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4D4F1E-3E95-4A10-AED4-6CA53A665740}"/>
              </a:ext>
            </a:extLst>
          </p:cNvPr>
          <p:cNvSpPr txBox="1"/>
          <p:nvPr/>
        </p:nvSpPr>
        <p:spPr>
          <a:xfrm>
            <a:off x="6636190" y="1665840"/>
            <a:ext cx="492716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Impa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058D91-E79E-F2E8-1F67-DD708BC24B2B}"/>
              </a:ext>
            </a:extLst>
          </p:cNvPr>
          <p:cNvSpPr/>
          <p:nvPr/>
        </p:nvSpPr>
        <p:spPr>
          <a:xfrm>
            <a:off x="7704500" y="2176607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efficiency increase in service throughpu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B6CAE35-A6B6-4489-5D64-0011AA2EB77F}"/>
              </a:ext>
            </a:extLst>
          </p:cNvPr>
          <p:cNvSpPr/>
          <p:nvPr/>
        </p:nvSpPr>
        <p:spPr>
          <a:xfrm>
            <a:off x="6636190" y="2155852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13" name="AutoShape 61">
            <a:extLst>
              <a:ext uri="{FF2B5EF4-FFF2-40B4-BE49-F238E27FC236}">
                <a16:creationId xmlns:a16="http://schemas.microsoft.com/office/drawing/2014/main" id="{C6B1FF34-E45B-D4C6-9E4A-5F802A1DF19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1481" y="2291144"/>
            <a:ext cx="632596" cy="63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B30373-9DF9-3E28-B79E-8C5065A5946D}"/>
              </a:ext>
            </a:extLst>
          </p:cNvPr>
          <p:cNvSpPr/>
          <p:nvPr/>
        </p:nvSpPr>
        <p:spPr>
          <a:xfrm>
            <a:off x="7704500" y="3208924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d car storage costs and improved site safety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CA978EE-AC89-F63F-3C2B-B37628776089}"/>
              </a:ext>
            </a:extLst>
          </p:cNvPr>
          <p:cNvSpPr/>
          <p:nvPr/>
        </p:nvSpPr>
        <p:spPr>
          <a:xfrm>
            <a:off x="6636190" y="3188169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D2A54B1C-C98A-DE7D-F7C7-6A01ADC7367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1774" y="3323461"/>
            <a:ext cx="632011" cy="63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D03401-0A90-37CC-B0B9-5181A3E26AF0}"/>
              </a:ext>
            </a:extLst>
          </p:cNvPr>
          <p:cNvSpPr/>
          <p:nvPr/>
        </p:nvSpPr>
        <p:spPr>
          <a:xfrm>
            <a:off x="7704500" y="4241242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customer experience with predictable turnaround time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07B492-86D4-0BA1-79BE-94F079573C94}"/>
              </a:ext>
            </a:extLst>
          </p:cNvPr>
          <p:cNvSpPr/>
          <p:nvPr/>
        </p:nvSpPr>
        <p:spPr>
          <a:xfrm>
            <a:off x="7704500" y="5273559"/>
            <a:ext cx="3858850" cy="86166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5EB8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1400" dirty="0">
                <a:solidFill>
                  <a:schemeClr val="tx1"/>
                </a:solidFill>
              </a:rPr>
              <a:t>Owner reports smoother cash flow and reduced admin load</a:t>
            </a:r>
            <a:endParaRPr lang="en-US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7E8F205-132E-D3EE-D510-CDE008B68FE7}"/>
              </a:ext>
            </a:extLst>
          </p:cNvPr>
          <p:cNvCxnSpPr/>
          <p:nvPr/>
        </p:nvCxnSpPr>
        <p:spPr>
          <a:xfrm>
            <a:off x="6636190" y="2026713"/>
            <a:ext cx="4927160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96D0B5FB-2CCD-9CDD-CB24-5D99B774BC32}"/>
              </a:ext>
            </a:extLst>
          </p:cNvPr>
          <p:cNvSpPr/>
          <p:nvPr/>
        </p:nvSpPr>
        <p:spPr>
          <a:xfrm>
            <a:off x="6636191" y="4220486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41" name="AutoShape 23">
            <a:extLst>
              <a:ext uri="{FF2B5EF4-FFF2-40B4-BE49-F238E27FC236}">
                <a16:creationId xmlns:a16="http://schemas.microsoft.com/office/drawing/2014/main" id="{343EE81C-4A48-D840-E1B8-862A59DB5BB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1777" y="4355778"/>
            <a:ext cx="632010" cy="63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EA85E1F-1CE0-72D4-FCD6-32D67A5500D1}"/>
              </a:ext>
            </a:extLst>
          </p:cNvPr>
          <p:cNvSpPr/>
          <p:nvPr/>
        </p:nvSpPr>
        <p:spPr>
          <a:xfrm>
            <a:off x="6637543" y="5246651"/>
            <a:ext cx="903180" cy="903178"/>
          </a:xfrm>
          <a:prstGeom prst="ellipse">
            <a:avLst/>
          </a:prstGeom>
          <a:grpFill/>
          <a:ln w="38100" cap="flat" cmpd="sng" algn="ctr">
            <a:gradFill flip="none" rotWithShape="1">
              <a:gsLst>
                <a:gs pos="0">
                  <a:srgbClr val="295E7E"/>
                </a:gs>
                <a:gs pos="100000">
                  <a:srgbClr val="005EB8"/>
                </a:gs>
              </a:gsLst>
              <a:lin ang="2700000" scaled="1"/>
              <a:tileRect/>
            </a:gra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B5CCD80-B1F8-F4BD-5775-B661A21DBBDF}"/>
              </a:ext>
            </a:extLst>
          </p:cNvPr>
          <p:cNvSpPr/>
          <p:nvPr/>
        </p:nvSpPr>
        <p:spPr>
          <a:xfrm>
            <a:off x="361768" y="2591930"/>
            <a:ext cx="4883560" cy="616994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Manual booking system limited garage throughput (2 bays fully utilised, overflow stock of cars waiting for service, storage and cost pressure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777CD05-472D-C74F-F6B7-3CE5B6B64B63}"/>
              </a:ext>
            </a:extLst>
          </p:cNvPr>
          <p:cNvSpPr txBox="1"/>
          <p:nvPr/>
        </p:nvSpPr>
        <p:spPr>
          <a:xfrm>
            <a:off x="434289" y="2153068"/>
            <a:ext cx="488356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rgbClr val="005EB8"/>
                </a:solidFill>
              </a:rPr>
              <a:t>Challenge</a:t>
            </a:r>
          </a:p>
        </p:txBody>
      </p:sp>
      <p:pic>
        <p:nvPicPr>
          <p:cNvPr id="5" name="Graphic 4" descr="Fast Forward with solid fill">
            <a:extLst>
              <a:ext uri="{FF2B5EF4-FFF2-40B4-BE49-F238E27FC236}">
                <a16:creationId xmlns:a16="http://schemas.microsoft.com/office/drawing/2014/main" id="{1B05906C-498A-6134-32B8-B351824633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6747838" y="2291143"/>
            <a:ext cx="632595" cy="632595"/>
          </a:xfrm>
          <a:prstGeom prst="rect">
            <a:avLst/>
          </a:prstGeom>
        </p:spPr>
      </p:pic>
      <p:pic>
        <p:nvPicPr>
          <p:cNvPr id="26" name="Graphic 25" descr="Transfer1 with solid fill">
            <a:extLst>
              <a:ext uri="{FF2B5EF4-FFF2-40B4-BE49-F238E27FC236}">
                <a16:creationId xmlns:a16="http://schemas.microsoft.com/office/drawing/2014/main" id="{756739F5-98B1-A8D8-7430-3E0FB60459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71481" y="5349318"/>
            <a:ext cx="697980" cy="697980"/>
          </a:xfrm>
          <a:prstGeom prst="rect">
            <a:avLst/>
          </a:prstGeom>
        </p:spPr>
      </p:pic>
      <p:pic>
        <p:nvPicPr>
          <p:cNvPr id="28" name="Graphic 27" descr="Hourglass Finished with solid fill">
            <a:extLst>
              <a:ext uri="{FF2B5EF4-FFF2-40B4-BE49-F238E27FC236}">
                <a16:creationId xmlns:a16="http://schemas.microsoft.com/office/drawing/2014/main" id="{0CC665A0-6424-DBF7-6AB2-5B7D36C06E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93856" y="4368522"/>
            <a:ext cx="589542" cy="589542"/>
          </a:xfrm>
          <a:prstGeom prst="rect">
            <a:avLst/>
          </a:prstGeom>
        </p:spPr>
      </p:pic>
      <p:pic>
        <p:nvPicPr>
          <p:cNvPr id="30" name="Graphic 29" descr="Car Mechanic with solid fill">
            <a:extLst>
              <a:ext uri="{FF2B5EF4-FFF2-40B4-BE49-F238E27FC236}">
                <a16:creationId xmlns:a16="http://schemas.microsoft.com/office/drawing/2014/main" id="{3201F66E-ABCB-1103-5053-91C7830BCB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46728" y="3336206"/>
            <a:ext cx="632596" cy="6325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6B96FF1-3B41-EEB9-B269-4759F5019CE0}"/>
              </a:ext>
            </a:extLst>
          </p:cNvPr>
          <p:cNvSpPr/>
          <p:nvPr/>
        </p:nvSpPr>
        <p:spPr>
          <a:xfrm>
            <a:off x="361768" y="4264872"/>
            <a:ext cx="4883560" cy="733486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Bespoke digital booking system aligned demand with capacity, introduced a third bay, optimised scheduling, and reduced waiting sto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We delivered a bespoke booking system that unlocked a third service bay, increasing efficiency by 40%, cutting costs, and improving customer experience</a:t>
            </a:r>
            <a:endParaRPr lang="en-US" sz="1400" b="1" dirty="0">
              <a:solidFill>
                <a:schemeClr val="tx1"/>
              </a:solidFill>
              <a:sym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B75FA8-025F-0EDC-24C7-B0C8890C864A}"/>
              </a:ext>
            </a:extLst>
          </p:cNvPr>
          <p:cNvSpPr txBox="1"/>
          <p:nvPr/>
        </p:nvSpPr>
        <p:spPr>
          <a:xfrm>
            <a:off x="434289" y="3743791"/>
            <a:ext cx="4883560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rgbClr val="005EB8"/>
                </a:solidFill>
              </a:rPr>
              <a:t>Solution</a:t>
            </a:r>
          </a:p>
        </p:txBody>
      </p:sp>
    </p:spTree>
    <p:extLst>
      <p:ext uri="{BB962C8B-B14F-4D97-AF65-F5344CB8AC3E}">
        <p14:creationId xmlns:p14="http://schemas.microsoft.com/office/powerpoint/2010/main" val="2056666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A7D9C-28AC-58E1-27FC-FBC08D840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C90397ED-DBD5-B4E3-6532-1AF1F38BCF2E}"/>
              </a:ext>
            </a:extLst>
          </p:cNvPr>
          <p:cNvSpPr/>
          <p:nvPr/>
        </p:nvSpPr>
        <p:spPr>
          <a:xfrm>
            <a:off x="-8" y="5655085"/>
            <a:ext cx="12191999" cy="1191985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EEDFBDD-0F9D-4BFC-B32D-0DE521C0A4E4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10366185" y="6237664"/>
            <a:ext cx="1825815" cy="6094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4C976B-FC27-575B-0F65-9B1A9730623E}"/>
              </a:ext>
            </a:extLst>
          </p:cNvPr>
          <p:cNvSpPr txBox="1"/>
          <p:nvPr/>
        </p:nvSpPr>
        <p:spPr>
          <a:xfrm>
            <a:off x="755913" y="5971143"/>
            <a:ext cx="9527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Why it matters: Proven impact | Rapid delivery | Scalable growth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EF8AF72-845E-34E0-5C2F-31F4AC87AF41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/>
              <a:t>Why                   ?</a:t>
            </a:r>
          </a:p>
        </p:txBody>
      </p:sp>
      <p:pic>
        <p:nvPicPr>
          <p:cNvPr id="9" name="Picture 8" descr="Financial graph on light leak blurry background">
            <a:extLst>
              <a:ext uri="{FF2B5EF4-FFF2-40B4-BE49-F238E27FC236}">
                <a16:creationId xmlns:a16="http://schemas.microsoft.com/office/drawing/2014/main" id="{2CCEA28F-C7FA-542A-6C71-FF42697D78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112" y="-46452"/>
            <a:ext cx="4420879" cy="2999964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3BCAF62-CCC3-CACB-4259-F14C78FB7B36}"/>
              </a:ext>
            </a:extLst>
          </p:cNvPr>
          <p:cNvSpPr txBox="1"/>
          <p:nvPr/>
        </p:nvSpPr>
        <p:spPr>
          <a:xfrm>
            <a:off x="920947" y="1981731"/>
            <a:ext cx="9527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Automation that delivers real result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E67C46-73DF-9C1A-152C-9F1D4B6A7648}"/>
              </a:ext>
            </a:extLst>
          </p:cNvPr>
          <p:cNvCxnSpPr>
            <a:cxnSpLocks/>
          </p:cNvCxnSpPr>
          <p:nvPr/>
        </p:nvCxnSpPr>
        <p:spPr>
          <a:xfrm>
            <a:off x="920947" y="2351063"/>
            <a:ext cx="6385109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5A8C133-C159-63B8-9C52-1D66BEBA4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882" y="2510832"/>
            <a:ext cx="8783894" cy="2864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b="1" dirty="0"/>
              <a:t>What we do best: </a:t>
            </a:r>
          </a:p>
          <a:p>
            <a:r>
              <a:rPr lang="en-GB" sz="1400" b="1" dirty="0"/>
              <a:t>Process redesign &amp; mapping</a:t>
            </a:r>
            <a:r>
              <a:rPr lang="en-GB" sz="1400" dirty="0"/>
              <a:t> – uncover inefficiencies and restructure workflows.</a:t>
            </a:r>
            <a:endParaRPr lang="en-GB" sz="1400" b="1" dirty="0"/>
          </a:p>
          <a:p>
            <a:r>
              <a:rPr lang="en-GB" sz="1400" b="1" dirty="0"/>
              <a:t>Automation strategy</a:t>
            </a:r>
            <a:r>
              <a:rPr lang="en-GB" sz="1400" dirty="0"/>
              <a:t> – define the ROI and prioritise the quick wins.</a:t>
            </a:r>
            <a:endParaRPr lang="en-GB" sz="1400" b="1" dirty="0"/>
          </a:p>
          <a:p>
            <a:r>
              <a:rPr lang="en-GB" sz="1400" b="1" dirty="0"/>
              <a:t>AI integration</a:t>
            </a:r>
            <a:r>
              <a:rPr lang="en-GB" sz="1400" dirty="0"/>
              <a:t> – apply speech-to-text, auto-scoring, and generative AI to real processes.</a:t>
            </a:r>
          </a:p>
          <a:p>
            <a:r>
              <a:rPr lang="en-GB" sz="1400" b="1" dirty="0"/>
              <a:t>Bespoke automation builds</a:t>
            </a:r>
            <a:r>
              <a:rPr lang="en-GB" sz="1400" dirty="0"/>
              <a:t> (booking, invoicing, reporting, scheduling).</a:t>
            </a:r>
          </a:p>
          <a:p>
            <a:r>
              <a:rPr lang="en-GB" sz="1400" b="1" dirty="0"/>
              <a:t>Custom dashboards &amp; analytics</a:t>
            </a:r>
            <a:r>
              <a:rPr lang="en-GB" sz="1400" dirty="0"/>
              <a:t> (real-time performance visibility).</a:t>
            </a:r>
          </a:p>
          <a:p>
            <a:r>
              <a:rPr lang="en-GB" sz="1400" b="1" dirty="0"/>
              <a:t>AI copilots &amp; agents</a:t>
            </a:r>
            <a:r>
              <a:rPr lang="en-GB" sz="1400" dirty="0"/>
              <a:t> (handling repetitive tasks and decisions).</a:t>
            </a:r>
          </a:p>
          <a:p>
            <a:r>
              <a:rPr lang="en-GB" sz="1400" b="1" dirty="0"/>
              <a:t>Workflow integrations</a:t>
            </a:r>
            <a:r>
              <a:rPr lang="en-GB" sz="1400" dirty="0"/>
              <a:t> (connecting tools like Airtable, Power Automate, Python builds).</a:t>
            </a:r>
          </a:p>
          <a:p>
            <a:r>
              <a:rPr lang="en-GB" sz="1400" b="1" dirty="0"/>
              <a:t>Training &amp; capability uplift</a:t>
            </a:r>
            <a:r>
              <a:rPr lang="en-GB" sz="1400" dirty="0"/>
              <a:t> (so clients aren’t dependent on consultants)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B699C1-A444-F8A1-6D5F-CDB4BE7F949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2287686" y="844123"/>
            <a:ext cx="1825815" cy="60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9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0FD93D-3FE9-1881-701F-A92F93CCA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81C8F2-0D81-BBF4-1991-D015C0A3C456}"/>
              </a:ext>
            </a:extLst>
          </p:cNvPr>
          <p:cNvSpPr/>
          <p:nvPr/>
        </p:nvSpPr>
        <p:spPr>
          <a:xfrm>
            <a:off x="7580376" y="-1"/>
            <a:ext cx="4595063" cy="6858001"/>
          </a:xfrm>
          <a:prstGeom prst="rect">
            <a:avLst/>
          </a:prstGeom>
          <a:ln>
            <a:noFill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104008B-094F-449D-C3CC-A381575E05CC}"/>
              </a:ext>
            </a:extLst>
          </p:cNvPr>
          <p:cNvSpPr/>
          <p:nvPr/>
        </p:nvSpPr>
        <p:spPr>
          <a:xfrm>
            <a:off x="-8" y="5655086"/>
            <a:ext cx="12191999" cy="120291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68F6BD8-1433-C9E8-FF4E-71285074DC5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CFAFA"/>
              </a:clrFrom>
              <a:clrTo>
                <a:srgbClr val="FCFAFA">
                  <a:alpha val="0"/>
                </a:srgbClr>
              </a:clrTo>
            </a:clrChange>
          </a:blip>
          <a:srcRect l="12388" t="36333" r="8657" b="37314"/>
          <a:stretch>
            <a:fillRect/>
          </a:stretch>
        </p:blipFill>
        <p:spPr>
          <a:xfrm>
            <a:off x="10366185" y="6237664"/>
            <a:ext cx="1825815" cy="609407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2385DD8E-60EC-A716-C79B-28EAB50F5808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925057" y="2595097"/>
            <a:ext cx="5525574" cy="1835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15+ years delivering large-scale transformation and complex AI automation in the public and private sector</a:t>
            </a:r>
          </a:p>
          <a:p>
            <a:r>
              <a:rPr lang="en-GB" sz="1400" dirty="0"/>
              <a:t>Proven track record: £3m+ savings delivered, supply chains built, digital solutions implemented</a:t>
            </a:r>
          </a:p>
          <a:p>
            <a:r>
              <a:rPr lang="en-GB" sz="1400" dirty="0"/>
              <a:t>Boutique scale - hands-on expertise and rapid delivery, </a:t>
            </a:r>
          </a:p>
          <a:p>
            <a:r>
              <a:rPr lang="en-GB" sz="1400" dirty="0"/>
              <a:t>Network of developers and automation specialists ready to scale with client nee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D3D01D-254E-E1E1-6D60-0DD81A99DD25}"/>
              </a:ext>
            </a:extLst>
          </p:cNvPr>
          <p:cNvSpPr txBox="1"/>
          <p:nvPr/>
        </p:nvSpPr>
        <p:spPr>
          <a:xfrm>
            <a:off x="755913" y="5971143"/>
            <a:ext cx="9527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We build high-impact automation that frees time, reduces costs, and unlocks growth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6621922-2ADE-95C9-15E5-9CB0569CAB54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/>
              <a:t>Who We A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0B1FA-53A3-D715-2828-FEA63BF814D3}"/>
              </a:ext>
            </a:extLst>
          </p:cNvPr>
          <p:cNvSpPr txBox="1"/>
          <p:nvPr/>
        </p:nvSpPr>
        <p:spPr>
          <a:xfrm>
            <a:off x="920947" y="1669105"/>
            <a:ext cx="68148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xperienced builders with a track record of delivery in AI, automation, and transformation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F8ABAF-1CEB-E8C4-4875-C6C8FB71BDAB}"/>
              </a:ext>
            </a:extLst>
          </p:cNvPr>
          <p:cNvCxnSpPr>
            <a:cxnSpLocks/>
          </p:cNvCxnSpPr>
          <p:nvPr/>
        </p:nvCxnSpPr>
        <p:spPr>
          <a:xfrm>
            <a:off x="920947" y="2351063"/>
            <a:ext cx="6193085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2425C43B-727A-E958-7E0F-6969CF097D9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360089" y="662030"/>
            <a:ext cx="1790253" cy="150593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83105F7-A6D8-E331-8A5A-BC44DABA1EC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1B1F23"/>
              </a:clrFrom>
              <a:clrTo>
                <a:srgbClr val="1B1F23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26222" y="3211025"/>
            <a:ext cx="1754778" cy="1584100"/>
          </a:xfrm>
          <a:prstGeom prst="rect">
            <a:avLst/>
          </a:prstGeom>
        </p:spPr>
      </p:pic>
      <p:sp>
        <p:nvSpPr>
          <p:cNvPr id="14" name="Rectangle 1">
            <a:extLst>
              <a:ext uri="{FF2B5EF4-FFF2-40B4-BE49-F238E27FC236}">
                <a16:creationId xmlns:a16="http://schemas.microsoft.com/office/drawing/2014/main" id="{141FDF4A-1780-13FD-4593-DEF7056270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9161" y="1874794"/>
            <a:ext cx="4037697" cy="1273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anna Cholas, Director</a:t>
            </a: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ing product strategist and digital solutions lead. Experienced in building automation, analytics dashboards, and AI integrations across public and private sectors. Hands-on delivery of bespoke systems that unlock growth.</a:t>
            </a: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DCA529CD-7B04-9D5B-87FD-A543DB50D3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9161" y="4350211"/>
            <a:ext cx="4270248" cy="113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zy Holdsworth, Director </a:t>
            </a: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ve experience leading large-scale NHS and national programmes. Specialist in service redesign, digital transformation, and AI adoption. Delivered £3m+ in cost savings and scaled supply chain innovations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29869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</TotalTime>
  <Words>904</Words>
  <Application>Microsoft Office PowerPoint</Application>
  <PresentationFormat>Widescreen</PresentationFormat>
  <Paragraphs>104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ptos</vt:lpstr>
      <vt:lpstr>Aptos Display</vt:lpstr>
      <vt:lpstr>Arial</vt:lpstr>
      <vt:lpstr>Trebuchet MS</vt:lpstr>
      <vt:lpstr>Office Theme</vt:lpstr>
      <vt:lpstr>PowerPoint Presentation</vt:lpstr>
      <vt:lpstr>The Problem</vt:lpstr>
      <vt:lpstr>From Bottlenecks to Working Automation</vt:lpstr>
      <vt:lpstr>Case Studies - NHS</vt:lpstr>
      <vt:lpstr>Case Studies - SME</vt:lpstr>
      <vt:lpstr>PowerPoint Presentation</vt:lpstr>
      <vt:lpstr>PowerPoint Presentation</vt:lpstr>
    </vt:vector>
  </TitlesOfParts>
  <Company>N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OLDSWORTH, Izabela (NHS ENGLAND)</dc:creator>
  <cp:lastModifiedBy>HOLDSWORTH, Izabela (NHS ENGLAND)</cp:lastModifiedBy>
  <cp:revision>1</cp:revision>
  <dcterms:created xsi:type="dcterms:W3CDTF">2025-10-01T08:54:43Z</dcterms:created>
  <dcterms:modified xsi:type="dcterms:W3CDTF">2025-10-01T17:08:43Z</dcterms:modified>
</cp:coreProperties>
</file>